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9"/>
  </p:notesMasterIdLst>
  <p:handoutMasterIdLst>
    <p:handoutMasterId r:id="rId10"/>
  </p:handoutMasterIdLst>
  <p:sldIdLst>
    <p:sldId id="360" r:id="rId6"/>
    <p:sldId id="362" r:id="rId7"/>
    <p:sldId id="361" r:id="rId8"/>
  </p:sldIdLst>
  <p:sldSz cx="12196763" cy="6861175"/>
  <p:notesSz cx="6858000" cy="9144000"/>
  <p:custDataLst>
    <p:tags r:id="rId11"/>
  </p:custDataLst>
  <p:defaultTextStyle>
    <a:defPPr>
      <a:defRPr lang="sv-SE"/>
    </a:defPPr>
    <a:lvl1pPr marL="0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1pPr>
    <a:lvl2pPr marL="457314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2pPr>
    <a:lvl3pPr marL="914630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3pPr>
    <a:lvl4pPr marL="1371944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4pPr>
    <a:lvl5pPr marL="1829257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5pPr>
    <a:lvl6pPr marL="2286571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6pPr>
    <a:lvl7pPr marL="2743886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7pPr>
    <a:lvl8pPr marL="3201200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8pPr>
    <a:lvl9pPr marL="3658514" algn="l" defTabSz="914630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S" id="{6CCF9F83-48AD-44A7-A7D4-A7E2D3188CE0}">
          <p14:sldIdLst>
            <p14:sldId id="360"/>
            <p14:sldId id="362"/>
            <p14:sldId id="3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3939"/>
    <a:srgbClr val="F2EBE1"/>
    <a:srgbClr val="F6F6F6"/>
    <a:srgbClr val="BF3B3B"/>
    <a:srgbClr val="49C1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9879FD-77E5-4850-A739-8CCFA50BE258}" v="136" dt="2024-07-03T22:36:42.743"/>
  </p1510:revLst>
</p1510:revInfo>
</file>

<file path=ppt/tableStyles.xml><?xml version="1.0" encoding="utf-8"?>
<a:tblStyleLst xmlns:a="http://schemas.openxmlformats.org/drawingml/2006/main" def="{EBC91A5C-2460-4EA5-BDA4-7DDF64713C32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C91A5C-2460-4EA5-BDA4-7DDF64713C32}" styleName="SAS Table 1">
    <a:wholeTbl>
      <a:tcTxStyle/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8000" cmpd="sng">
              <a:solidFill>
                <a:schemeClr val="tx1"/>
              </a:solidFill>
            </a:ln>
          </a:bottom>
          <a:insideH>
            <a:ln w="80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</a:tcStyle>
    </a:wholeTbl>
    <a:band1H>
      <a:tcTxStyle/>
      <a:tcStyle>
        <a:tcBdr>
          <a:top>
            <a:ln w="8000" cmpd="sng">
              <a:solidFill>
                <a:schemeClr val="tx1"/>
              </a:solidFill>
            </a:ln>
          </a:top>
          <a:bottom>
            <a:ln w="8000" cmpd="sng">
              <a:solidFill>
                <a:schemeClr val="tx1"/>
              </a:solidFill>
            </a:ln>
          </a:bottom>
        </a:tcBdr>
        <a:fill>
          <a:solidFill>
            <a:schemeClr val="lt2"/>
          </a:solidFill>
        </a:fill>
      </a:tcStyle>
    </a:band1H>
    <a:band2H>
      <a:tcTxStyle/>
      <a:tcStyle>
        <a:tcBdr>
          <a:top>
            <a:ln w="0" cmpd="sng">
              <a:solidFill>
                <a:schemeClr val="tx1"/>
              </a:solidFill>
            </a:ln>
          </a:top>
          <a:bottom>
            <a:ln w="0" cmpd="sng">
              <a:solidFill>
                <a:schemeClr val="tx1"/>
              </a:solidFill>
            </a:ln>
          </a:bottom>
        </a:tcBdr>
        <a:fill>
          <a:solidFill>
            <a:srgbClr val="F4FAFD"/>
          </a:solidFill>
        </a:fill>
      </a:tcStyle>
    </a:band2H>
    <a:band1V>
      <a:tcStyle>
        <a:tcBdr/>
        <a:fill>
          <a:solidFill>
            <a:schemeClr val="lt2"/>
          </a:solidFill>
        </a:fill>
      </a:tcStyle>
    </a:band1V>
    <a:band2V>
      <a:tcStyle>
        <a:tcBdr/>
        <a:fill>
          <a:solidFill>
            <a:srgbClr val="F4FAFD"/>
          </a:solidFill>
        </a:fill>
      </a:tcStyle>
    </a:band2V>
    <a:lastCol>
      <a:tcTxStyle b="on">
        <a:fontRef idx="minor">
          <a:schemeClr val="bg1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tx2"/>
              </a:solidFill>
            </a:ln>
          </a:bottom>
        </a:tcBdr>
        <a:fill>
          <a:solidFill>
            <a:schemeClr val="accent2"/>
          </a:solidFill>
        </a:fill>
      </a:tcStyle>
    </a:lastCol>
    <a:firstCol>
      <a:tcTxStyle b="on">
        <a:fontRef idx="minor">
          <a:schemeClr val="bg1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tx2"/>
              </a:solidFill>
            </a:ln>
          </a:bottom>
        </a:tcBdr>
        <a:fill>
          <a:solidFill>
            <a:schemeClr val="accent2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accent2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27" autoAdjust="0"/>
  </p:normalViewPr>
  <p:slideViewPr>
    <p:cSldViewPr snapToGrid="0">
      <p:cViewPr varScale="1">
        <p:scale>
          <a:sx n="72" d="100"/>
          <a:sy n="72" d="100"/>
        </p:scale>
        <p:origin x="416" y="40"/>
      </p:cViewPr>
      <p:guideLst/>
    </p:cSldViewPr>
  </p:slideViewPr>
  <p:outlineViewPr>
    <p:cViewPr>
      <p:scale>
        <a:sx n="33" d="100"/>
        <a:sy n="33" d="100"/>
      </p:scale>
      <p:origin x="0" y="-7549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F3614D8-FC6C-C360-7B49-9F49D1594C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1F879E-0F9D-E13A-7795-D9869ACDF5B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22D5E-C8C6-4781-A16B-12E18232ED93}" type="datetimeFigureOut">
              <a:rPr lang="sv-SE" smtClean="0">
                <a:latin typeface="Arial" panose="020B0604020202020204" pitchFamily="34" charset="0"/>
              </a:rPr>
              <a:t>2024-07-04</a:t>
            </a:fld>
            <a:endParaRPr lang="sv-SE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828B25-ECDE-9915-66BB-E9F6BF434EB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C37DE7-6D2F-EDC2-FA90-BDBD989DE4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6130CF-BB51-4FCA-A5D2-3D3884FB1B8F}" type="slidenum">
              <a:rPr lang="sv-SE" smtClean="0">
                <a:latin typeface="Arial" panose="020B0604020202020204" pitchFamily="34" charset="0"/>
              </a:rPr>
              <a:t>‹#›</a:t>
            </a:fld>
            <a:endParaRPr lang="sv-S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6033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D36CD27F-57ED-4050-A749-338366197E0D}" type="datetimeFigureOut">
              <a:rPr lang="sv-SE" smtClean="0"/>
              <a:pPr/>
              <a:t>2024-07-04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A29CD586-C145-4C08-8ECD-C931AA62810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6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63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314" algn="l" defTabSz="91463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630" algn="l" defTabSz="91463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944" algn="l" defTabSz="91463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9257" algn="l" defTabSz="91463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571" algn="l" defTabSz="9146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886" algn="l" defTabSz="9146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1200" algn="l" defTabSz="9146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514" algn="l" defTabSz="9146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9CD586-C145-4C08-8ECD-C931AA62810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113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 on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F3E849-3C5E-FD62-278D-F55E87FE03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1916" y="2508442"/>
            <a:ext cx="9072931" cy="1258551"/>
          </a:xfrm>
        </p:spPr>
        <p:txBody>
          <a:bodyPr anchor="b"/>
          <a:lstStyle>
            <a:lvl1pPr algn="ctr">
              <a:lnSpc>
                <a:spcPct val="90000"/>
              </a:lnSpc>
              <a:defRPr sz="4202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0EF1796-C257-3203-0835-B77620C66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87791" y="6866613"/>
            <a:ext cx="1662762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DAAF140-EE41-D9F0-DA3E-9DA603549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043" y="6866613"/>
            <a:ext cx="457377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7D81137-E44E-4038-B287-767483FD80B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3" name="Picture 87" descr="Logo&#10;&#10;Description automatically generated">
            <a:extLst>
              <a:ext uri="{FF2B5EF4-FFF2-40B4-BE49-F238E27FC236}">
                <a16:creationId xmlns:a16="http://schemas.microsoft.com/office/drawing/2014/main" id="{32968CD3-0DCB-48B9-135D-071E64832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5189" y="216794"/>
            <a:ext cx="1940678" cy="683746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30161711-5610-911E-6D26-D542107B2D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596" y="3857993"/>
            <a:ext cx="9147572" cy="43183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01" b="1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228691" indent="0" algn="ctr">
              <a:buNone/>
              <a:defRPr sz="1000"/>
            </a:lvl2pPr>
            <a:lvl3pPr marL="457383" indent="0" algn="ctr">
              <a:buNone/>
              <a:defRPr sz="900"/>
            </a:lvl3pPr>
            <a:lvl4pPr marL="686074" indent="0" algn="ctr">
              <a:buNone/>
              <a:defRPr sz="800"/>
            </a:lvl4pPr>
            <a:lvl5pPr marL="914766" indent="0" algn="ctr">
              <a:buNone/>
              <a:defRPr sz="800"/>
            </a:lvl5pPr>
            <a:lvl6pPr marL="1143457" indent="0" algn="ctr">
              <a:buNone/>
              <a:defRPr sz="800"/>
            </a:lvl6pPr>
            <a:lvl7pPr marL="1372149" indent="0" algn="ctr">
              <a:buNone/>
              <a:defRPr sz="800"/>
            </a:lvl7pPr>
            <a:lvl8pPr marL="1600840" indent="0" algn="ctr">
              <a:buNone/>
              <a:defRPr sz="800"/>
            </a:lvl8pPr>
            <a:lvl9pPr marL="1829532" indent="0" algn="ctr">
              <a:buNone/>
              <a:defRPr sz="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F9DD77-FE60-4E53-9F49-CE0AEA1BF7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4181" y="4375497"/>
            <a:ext cx="3708400" cy="914400"/>
          </a:xfrm>
        </p:spPr>
        <p:txBody>
          <a:bodyPr/>
          <a:lstStyle>
            <a:lvl1pPr algn="ctr">
              <a:defRPr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 in format YYYY.MM.DD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975C002-515E-4074-2C6A-F5E12163D1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639" y="309538"/>
            <a:ext cx="1195483" cy="7105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C271BC-610F-6279-EFCF-D2B2782B2D8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57192" y="6490707"/>
            <a:ext cx="1702048" cy="16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95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 page with quote on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6CB62200-4DE0-BC44-3F92-9F311C6AF675}"/>
              </a:ext>
            </a:extLst>
          </p:cNvPr>
          <p:cNvGrpSpPr/>
          <p:nvPr userDrawn="1"/>
        </p:nvGrpSpPr>
        <p:grpSpPr>
          <a:xfrm>
            <a:off x="9111208" y="6296975"/>
            <a:ext cx="2849138" cy="442050"/>
            <a:chOff x="9111208" y="5270922"/>
            <a:chExt cx="2849138" cy="442050"/>
          </a:xfrm>
        </p:grpSpPr>
        <p:pic>
          <p:nvPicPr>
            <p:cNvPr id="15" name="Picture 87" descr="Logo&#10;&#10;Description automatically generated">
              <a:extLst>
                <a:ext uri="{FF2B5EF4-FFF2-40B4-BE49-F238E27FC236}">
                  <a16:creationId xmlns:a16="http://schemas.microsoft.com/office/drawing/2014/main" id="{D738DB9E-0337-471A-A63D-487F402EAB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64203" y="5270922"/>
              <a:ext cx="1196143" cy="421430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3E54055-DFCC-9CF9-D594-B6FA867D2F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372867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C0DC51D-7895-91F7-7BC0-E040F1CC72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111208" y="5463497"/>
              <a:ext cx="1702038" cy="166981"/>
            </a:xfrm>
            <a:prstGeom prst="rect">
              <a:avLst/>
            </a:prstGeom>
          </p:spPr>
        </p:pic>
      </p:grpSp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2801311"/>
            <a:ext cx="7221182" cy="1258551"/>
          </a:xfrm>
        </p:spPr>
        <p:txBody>
          <a:bodyPr anchor="ctr"/>
          <a:lstStyle>
            <a:lvl1pPr algn="ctr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A428CC-5E10-227C-0214-CEC652A44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28A26F-81D3-709D-07A0-C266C28B7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CE4F2A-F4CB-278E-01DD-EAD090B84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18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!!footnote">
            <a:extLst>
              <a:ext uri="{FF2B5EF4-FFF2-40B4-BE49-F238E27FC236}">
                <a16:creationId xmlns:a16="http://schemas.microsoft.com/office/drawing/2014/main" id="{4FEC1149-78B7-BC84-97B3-8DA3D31F1C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6" name="Title 16">
            <a:extLst>
              <a:ext uri="{FF2B5EF4-FFF2-40B4-BE49-F238E27FC236}">
                <a16:creationId xmlns:a16="http://schemas.microsoft.com/office/drawing/2014/main" id="{A4E85236-39E1-8BBB-DCF3-2D95968B51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7575757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4B4C444-2AD9-8BB8-3D26-43CD1EBC40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-17576552" y="1602927"/>
            <a:ext cx="4688313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738AD-B124-F74A-C1CB-BE89BC2D38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17573376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A4BC28E-49A2-3437-DC30-114654F569C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98360D1-D5E5-4D67-062F-7472D872A5A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6A0E0BF-7FF2-5B26-1760-C3A1333CDB5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2127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1590019"/>
            <a:ext cx="5367846" cy="1840569"/>
          </a:xfrm>
        </p:spPr>
        <p:txBody>
          <a:bodyPr anchor="b"/>
          <a:lstStyle>
            <a:lvl1pPr algn="l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B04F11C-8931-4F2C-862F-B58C9926F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7791" y="3659294"/>
            <a:ext cx="5367846" cy="1168147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>
              <a:lnSpc>
                <a:spcPct val="90000"/>
              </a:lnSpc>
              <a:buNone/>
              <a:defRPr sz="1901" b="0">
                <a:solidFill>
                  <a:schemeClr val="tx1"/>
                </a:solidFill>
              </a:defRPr>
            </a:lvl1pPr>
            <a:lvl2pPr marL="457383" indent="0" algn="ctr">
              <a:buNone/>
              <a:defRPr sz="2001"/>
            </a:lvl2pPr>
            <a:lvl3pPr marL="914766" indent="0" algn="ctr">
              <a:buNone/>
              <a:defRPr sz="1801"/>
            </a:lvl3pPr>
            <a:lvl4pPr marL="1372150" indent="0" algn="ctr">
              <a:buNone/>
              <a:defRPr sz="1601"/>
            </a:lvl4pPr>
            <a:lvl5pPr marL="1829531" indent="0" algn="ctr">
              <a:buNone/>
              <a:defRPr sz="1601"/>
            </a:lvl5pPr>
            <a:lvl6pPr marL="2286914" indent="0" algn="ctr">
              <a:buNone/>
              <a:defRPr sz="1601"/>
            </a:lvl6pPr>
            <a:lvl7pPr marL="2744297" indent="0" algn="ctr">
              <a:buNone/>
              <a:defRPr sz="1601"/>
            </a:lvl7pPr>
            <a:lvl8pPr marL="3201680" indent="0" algn="ctr">
              <a:buNone/>
              <a:defRPr sz="1601"/>
            </a:lvl8pPr>
            <a:lvl9pPr marL="3659064" indent="0" algn="ctr">
              <a:buNone/>
              <a:defRPr sz="160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4BEA74-8C5B-20DD-F599-FFD6CDD0F64B}"/>
              </a:ext>
            </a:extLst>
          </p:cNvPr>
          <p:cNvGrpSpPr/>
          <p:nvPr userDrawn="1"/>
        </p:nvGrpSpPr>
        <p:grpSpPr>
          <a:xfrm>
            <a:off x="9111208" y="6296975"/>
            <a:ext cx="2849138" cy="442050"/>
            <a:chOff x="9111208" y="5270922"/>
            <a:chExt cx="2849138" cy="442050"/>
          </a:xfrm>
        </p:grpSpPr>
        <p:pic>
          <p:nvPicPr>
            <p:cNvPr id="8" name="Picture 87" descr="Logo&#10;&#10;Description automatically generated">
              <a:extLst>
                <a:ext uri="{FF2B5EF4-FFF2-40B4-BE49-F238E27FC236}">
                  <a16:creationId xmlns:a16="http://schemas.microsoft.com/office/drawing/2014/main" id="{A581316B-59AE-A652-4B2A-A74AA50BA77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64203" y="5270922"/>
              <a:ext cx="1196143" cy="421430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E4015D6-4F9E-FD49-C173-D0A6169C02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372867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C594F00-1ECC-F311-71E8-A6A63E42787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111208" y="5463497"/>
              <a:ext cx="1702038" cy="166981"/>
            </a:xfrm>
            <a:prstGeom prst="rect">
              <a:avLst/>
            </a:prstGeom>
          </p:spPr>
        </p:pic>
      </p:grp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B215736-95F5-9DF3-DF34-9CE5E8532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F34648E-4A82-78F9-DC03-3BC49DDD7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C46C3A1-54AF-B6B1-B8FC-5235477F6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692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ligh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1590019"/>
            <a:ext cx="5367846" cy="1840569"/>
          </a:xfrm>
        </p:spPr>
        <p:txBody>
          <a:bodyPr anchor="b"/>
          <a:lstStyle>
            <a:lvl1pPr algn="l">
              <a:lnSpc>
                <a:spcPct val="90000"/>
              </a:lnSpc>
              <a:defRPr sz="420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B04F11C-8931-4F2C-862F-B58C9926F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7791" y="3659294"/>
            <a:ext cx="5367846" cy="1168147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>
              <a:lnSpc>
                <a:spcPct val="90000"/>
              </a:lnSpc>
              <a:buNone/>
              <a:defRPr sz="1901" b="0">
                <a:solidFill>
                  <a:schemeClr val="tx2"/>
                </a:solidFill>
              </a:defRPr>
            </a:lvl1pPr>
            <a:lvl2pPr marL="457383" indent="0" algn="ctr">
              <a:buNone/>
              <a:defRPr sz="2001"/>
            </a:lvl2pPr>
            <a:lvl3pPr marL="914766" indent="0" algn="ctr">
              <a:buNone/>
              <a:defRPr sz="1801"/>
            </a:lvl3pPr>
            <a:lvl4pPr marL="1372150" indent="0" algn="ctr">
              <a:buNone/>
              <a:defRPr sz="1601"/>
            </a:lvl4pPr>
            <a:lvl5pPr marL="1829531" indent="0" algn="ctr">
              <a:buNone/>
              <a:defRPr sz="1601"/>
            </a:lvl5pPr>
            <a:lvl6pPr marL="2286914" indent="0" algn="ctr">
              <a:buNone/>
              <a:defRPr sz="1601"/>
            </a:lvl6pPr>
            <a:lvl7pPr marL="2744297" indent="0" algn="ctr">
              <a:buNone/>
              <a:defRPr sz="1601"/>
            </a:lvl7pPr>
            <a:lvl8pPr marL="3201680" indent="0" algn="ctr">
              <a:buNone/>
              <a:defRPr sz="1601"/>
            </a:lvl8pPr>
            <a:lvl9pPr marL="3659064" indent="0" algn="ctr">
              <a:buNone/>
              <a:defRPr sz="160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722E41-6280-3CEE-3E6B-48A113670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91209D-2DD1-23DE-0922-30226E515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116C02F-209B-0D25-C38A-9DA2BFEFB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560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ligh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1590019"/>
            <a:ext cx="5367846" cy="1840569"/>
          </a:xfrm>
        </p:spPr>
        <p:txBody>
          <a:bodyPr anchor="b"/>
          <a:lstStyle>
            <a:lvl1pPr algn="l">
              <a:lnSpc>
                <a:spcPct val="90000"/>
              </a:lnSpc>
              <a:defRPr sz="4202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B04F11C-8931-4F2C-862F-B58C9926F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7791" y="3659294"/>
            <a:ext cx="5367846" cy="1168147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>
              <a:lnSpc>
                <a:spcPct val="90000"/>
              </a:lnSpc>
              <a:buNone/>
              <a:defRPr sz="1901" b="0">
                <a:solidFill>
                  <a:schemeClr val="accent2"/>
                </a:solidFill>
              </a:defRPr>
            </a:lvl1pPr>
            <a:lvl2pPr marL="457383" indent="0" algn="ctr">
              <a:buNone/>
              <a:defRPr sz="2001"/>
            </a:lvl2pPr>
            <a:lvl3pPr marL="914766" indent="0" algn="ctr">
              <a:buNone/>
              <a:defRPr sz="1801"/>
            </a:lvl3pPr>
            <a:lvl4pPr marL="1372150" indent="0" algn="ctr">
              <a:buNone/>
              <a:defRPr sz="1601"/>
            </a:lvl4pPr>
            <a:lvl5pPr marL="1829531" indent="0" algn="ctr">
              <a:buNone/>
              <a:defRPr sz="1601"/>
            </a:lvl5pPr>
            <a:lvl6pPr marL="2286914" indent="0" algn="ctr">
              <a:buNone/>
              <a:defRPr sz="1601"/>
            </a:lvl6pPr>
            <a:lvl7pPr marL="2744297" indent="0" algn="ctr">
              <a:buNone/>
              <a:defRPr sz="1601"/>
            </a:lvl7pPr>
            <a:lvl8pPr marL="3201680" indent="0" algn="ctr">
              <a:buNone/>
              <a:defRPr sz="1601"/>
            </a:lvl8pPr>
            <a:lvl9pPr marL="3659064" indent="0" algn="ctr">
              <a:buNone/>
              <a:defRPr sz="160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E60D443-3491-1A40-1607-9BC810B06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560EC47-4829-1929-869D-AC426B351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A518D8-E449-03F2-34FB-CD5924190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297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gradi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Electric blue, blå, Majorelleblå&#10;&#10;Automatiskt genererad beskrivning">
            <a:extLst>
              <a:ext uri="{FF2B5EF4-FFF2-40B4-BE49-F238E27FC236}">
                <a16:creationId xmlns:a16="http://schemas.microsoft.com/office/drawing/2014/main" id="{1F50E151-9DF9-CFCD-AF2B-6E0E4180B3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8"/>
            <a:ext cx="12196763" cy="685946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1590019"/>
            <a:ext cx="5367846" cy="1840569"/>
          </a:xfrm>
        </p:spPr>
        <p:txBody>
          <a:bodyPr anchor="b"/>
          <a:lstStyle>
            <a:lvl1pPr algn="l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B04F11C-8931-4F2C-862F-B58C9926F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7791" y="3659294"/>
            <a:ext cx="5367846" cy="1168147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>
              <a:lnSpc>
                <a:spcPct val="90000"/>
              </a:lnSpc>
              <a:buNone/>
              <a:defRPr sz="1901" b="0">
                <a:solidFill>
                  <a:schemeClr val="tx1"/>
                </a:solidFill>
              </a:defRPr>
            </a:lvl1pPr>
            <a:lvl2pPr marL="457383" indent="0" algn="ctr">
              <a:buNone/>
              <a:defRPr sz="2001"/>
            </a:lvl2pPr>
            <a:lvl3pPr marL="914766" indent="0" algn="ctr">
              <a:buNone/>
              <a:defRPr sz="1801"/>
            </a:lvl3pPr>
            <a:lvl4pPr marL="1372150" indent="0" algn="ctr">
              <a:buNone/>
              <a:defRPr sz="1601"/>
            </a:lvl4pPr>
            <a:lvl5pPr marL="1829531" indent="0" algn="ctr">
              <a:buNone/>
              <a:defRPr sz="1601"/>
            </a:lvl5pPr>
            <a:lvl6pPr marL="2286914" indent="0" algn="ctr">
              <a:buNone/>
              <a:defRPr sz="1601"/>
            </a:lvl6pPr>
            <a:lvl7pPr marL="2744297" indent="0" algn="ctr">
              <a:buNone/>
              <a:defRPr sz="1601"/>
            </a:lvl7pPr>
            <a:lvl8pPr marL="3201680" indent="0" algn="ctr">
              <a:buNone/>
              <a:defRPr sz="1601"/>
            </a:lvl8pPr>
            <a:lvl9pPr marL="3659064" indent="0" algn="ctr">
              <a:buNone/>
              <a:defRPr sz="160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99378A-624A-19EC-50FB-915257639433}"/>
              </a:ext>
            </a:extLst>
          </p:cNvPr>
          <p:cNvGrpSpPr/>
          <p:nvPr userDrawn="1"/>
        </p:nvGrpSpPr>
        <p:grpSpPr>
          <a:xfrm>
            <a:off x="9111208" y="6296975"/>
            <a:ext cx="2849138" cy="442050"/>
            <a:chOff x="9111208" y="5270922"/>
            <a:chExt cx="2849138" cy="442050"/>
          </a:xfrm>
        </p:grpSpPr>
        <p:pic>
          <p:nvPicPr>
            <p:cNvPr id="9" name="Picture 87" descr="Logo&#10;&#10;Description automatically generated">
              <a:extLst>
                <a:ext uri="{FF2B5EF4-FFF2-40B4-BE49-F238E27FC236}">
                  <a16:creationId xmlns:a16="http://schemas.microsoft.com/office/drawing/2014/main" id="{3E3FEC48-A7E4-8A3A-312C-105642FEA7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64203" y="5270922"/>
              <a:ext cx="1196143" cy="421430"/>
            </a:xfrm>
            <a:prstGeom prst="rect">
              <a:avLst/>
            </a:prstGeom>
          </p:spPr>
        </p:pic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C69F3CA-8DBF-4779-033C-25AE0A35BE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372867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6426DEAB-3AC0-DB3F-BBEA-3750053DFE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111208" y="5463497"/>
              <a:ext cx="1702038" cy="166981"/>
            </a:xfrm>
            <a:prstGeom prst="rect">
              <a:avLst/>
            </a:prstGeom>
          </p:spPr>
        </p:pic>
      </p:grp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03F755A-F37D-A18A-5275-813A481E4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88BC58E-FFBF-6EFC-D1A3-6B9E51DF8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A7C6C7E-6A5C-F669-EDF3-F8D8B38B7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155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sub headline_bo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!!footnote">
            <a:extLst>
              <a:ext uri="{FF2B5EF4-FFF2-40B4-BE49-F238E27FC236}">
                <a16:creationId xmlns:a16="http://schemas.microsoft.com/office/drawing/2014/main" id="{3BF26A8C-6809-74E9-BE51-22A0B8C5FA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2" name="Title 16">
            <a:extLst>
              <a:ext uri="{FF2B5EF4-FFF2-40B4-BE49-F238E27FC236}">
                <a16:creationId xmlns:a16="http://schemas.microsoft.com/office/drawing/2014/main" id="{545A2D8F-4D8C-6A4F-F5B5-4343566A3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9190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99FAF36-6F6F-8C07-D57A-ADFFC58438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248" y="1602927"/>
            <a:ext cx="4919807" cy="285723"/>
          </a:xfrm>
          <a:prstGeom prst="rect">
            <a:avLst/>
          </a:prstGeom>
        </p:spPr>
        <p:txBody>
          <a:bodyPr lIns="90000" tIns="46800" rIns="90000" bIns="46800"/>
          <a:lstStyle>
            <a:lvl1pPr>
              <a:defRPr b="1" i="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C20C665-78E2-1726-C018-5E1C099E44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2032941"/>
            <a:ext cx="4916631" cy="4192940"/>
          </a:xfrm>
          <a:prstGeom prst="rect">
            <a:avLst/>
          </a:prstGeom>
        </p:spPr>
        <p:txBody>
          <a:bodyPr lIns="90000" tIns="46800" rIns="90000" bIns="46800"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CFDDD5-DC7C-4ACA-5289-3F21B2159E0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0AF52F-6DAD-DC06-57D0-E49147E71C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509FE4-9415-C7D1-4804-F14C0D55151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5118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_sub headline_body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884FCED3-7E41-E99E-5B80-6B7FC1D6C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919806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!!footnote">
            <a:extLst>
              <a:ext uri="{FF2B5EF4-FFF2-40B4-BE49-F238E27FC236}">
                <a16:creationId xmlns:a16="http://schemas.microsoft.com/office/drawing/2014/main" id="{3BF26A8C-6809-74E9-BE51-22A0B8C5FA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22EDCF-59B7-76B5-5435-3535AFBA4E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249" y="1602927"/>
            <a:ext cx="4919806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786F7CE-C50E-B198-A8BB-73256496F1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2032941"/>
            <a:ext cx="4916631" cy="419294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7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8F5B63F-576F-C4DD-7D59-8F7A7DC69C3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2875" y="635294"/>
            <a:ext cx="5367846" cy="5589793"/>
          </a:xfrm>
          <a:custGeom>
            <a:avLst/>
            <a:gdLst>
              <a:gd name="connsiteX0" fmla="*/ 251868 w 10731499"/>
              <a:gd name="connsiteY0" fmla="*/ 0 h 11174413"/>
              <a:gd name="connsiteX1" fmla="*/ 10479631 w 10731499"/>
              <a:gd name="connsiteY1" fmla="*/ 0 h 11174413"/>
              <a:gd name="connsiteX2" fmla="*/ 10731499 w 10731499"/>
              <a:gd name="connsiteY2" fmla="*/ 251868 h 11174413"/>
              <a:gd name="connsiteX3" fmla="*/ 10731499 w 10731499"/>
              <a:gd name="connsiteY3" fmla="*/ 10922545 h 11174413"/>
              <a:gd name="connsiteX4" fmla="*/ 10479631 w 10731499"/>
              <a:gd name="connsiteY4" fmla="*/ 11174413 h 11174413"/>
              <a:gd name="connsiteX5" fmla="*/ 251868 w 10731499"/>
              <a:gd name="connsiteY5" fmla="*/ 11174413 h 11174413"/>
              <a:gd name="connsiteX6" fmla="*/ 0 w 10731499"/>
              <a:gd name="connsiteY6" fmla="*/ 10922545 h 11174413"/>
              <a:gd name="connsiteX7" fmla="*/ 0 w 10731499"/>
              <a:gd name="connsiteY7" fmla="*/ 251868 h 11174413"/>
              <a:gd name="connsiteX8" fmla="*/ 251868 w 10731499"/>
              <a:gd name="connsiteY8" fmla="*/ 0 h 11174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31499" h="11174413">
                <a:moveTo>
                  <a:pt x="251868" y="0"/>
                </a:moveTo>
                <a:lnTo>
                  <a:pt x="10479631" y="0"/>
                </a:lnTo>
                <a:cubicBezTo>
                  <a:pt x="10618735" y="0"/>
                  <a:pt x="10731499" y="112765"/>
                  <a:pt x="10731499" y="251868"/>
                </a:cubicBezTo>
                <a:lnTo>
                  <a:pt x="10731499" y="10922545"/>
                </a:lnTo>
                <a:cubicBezTo>
                  <a:pt x="10731499" y="11061648"/>
                  <a:pt x="10618735" y="11174413"/>
                  <a:pt x="10479631" y="11174413"/>
                </a:cubicBezTo>
                <a:lnTo>
                  <a:pt x="251868" y="11174413"/>
                </a:lnTo>
                <a:cubicBezTo>
                  <a:pt x="112765" y="11174413"/>
                  <a:pt x="0" y="11061648"/>
                  <a:pt x="0" y="10922545"/>
                </a:cubicBezTo>
                <a:lnTo>
                  <a:pt x="0" y="251868"/>
                </a:lnTo>
                <a:cubicBezTo>
                  <a:pt x="0" y="112765"/>
                  <a:pt x="112765" y="0"/>
                  <a:pt x="25186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8F09A6-92E2-2E41-55BD-1D328F5FA27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5D68A-B801-923F-4C70-07D86953C42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A030D1-BCF7-D18A-EFFB-A08616195F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8604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_sub headline_bo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D5CAD7-556E-F649-68B5-29CA63023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1566863"/>
            <a:ext cx="4919805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9297E4E-FAC6-AFA3-07ED-F4E1358032B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2875" y="1566863"/>
            <a:ext cx="5367846" cy="3945621"/>
          </a:xfrm>
          <a:custGeom>
            <a:avLst/>
            <a:gdLst>
              <a:gd name="connsiteX0" fmla="*/ 251868 w 10731499"/>
              <a:gd name="connsiteY0" fmla="*/ 0 h 11174413"/>
              <a:gd name="connsiteX1" fmla="*/ 10479631 w 10731499"/>
              <a:gd name="connsiteY1" fmla="*/ 0 h 11174413"/>
              <a:gd name="connsiteX2" fmla="*/ 10731499 w 10731499"/>
              <a:gd name="connsiteY2" fmla="*/ 251868 h 11174413"/>
              <a:gd name="connsiteX3" fmla="*/ 10731499 w 10731499"/>
              <a:gd name="connsiteY3" fmla="*/ 10922545 h 11174413"/>
              <a:gd name="connsiteX4" fmla="*/ 10479631 w 10731499"/>
              <a:gd name="connsiteY4" fmla="*/ 11174413 h 11174413"/>
              <a:gd name="connsiteX5" fmla="*/ 251868 w 10731499"/>
              <a:gd name="connsiteY5" fmla="*/ 11174413 h 11174413"/>
              <a:gd name="connsiteX6" fmla="*/ 0 w 10731499"/>
              <a:gd name="connsiteY6" fmla="*/ 10922545 h 11174413"/>
              <a:gd name="connsiteX7" fmla="*/ 0 w 10731499"/>
              <a:gd name="connsiteY7" fmla="*/ 251868 h 11174413"/>
              <a:gd name="connsiteX8" fmla="*/ 251868 w 10731499"/>
              <a:gd name="connsiteY8" fmla="*/ 0 h 11174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31499" h="11174413">
                <a:moveTo>
                  <a:pt x="251868" y="0"/>
                </a:moveTo>
                <a:lnTo>
                  <a:pt x="10479631" y="0"/>
                </a:lnTo>
                <a:cubicBezTo>
                  <a:pt x="10618735" y="0"/>
                  <a:pt x="10731499" y="112765"/>
                  <a:pt x="10731499" y="251868"/>
                </a:cubicBezTo>
                <a:lnTo>
                  <a:pt x="10731499" y="10922545"/>
                </a:lnTo>
                <a:cubicBezTo>
                  <a:pt x="10731499" y="11061648"/>
                  <a:pt x="10618735" y="11174413"/>
                  <a:pt x="10479631" y="11174413"/>
                </a:cubicBezTo>
                <a:lnTo>
                  <a:pt x="251868" y="11174413"/>
                </a:lnTo>
                <a:cubicBezTo>
                  <a:pt x="112765" y="11174413"/>
                  <a:pt x="0" y="11061648"/>
                  <a:pt x="0" y="10922545"/>
                </a:cubicBezTo>
                <a:lnTo>
                  <a:pt x="0" y="251868"/>
                </a:lnTo>
                <a:cubicBezTo>
                  <a:pt x="0" y="112765"/>
                  <a:pt x="112765" y="0"/>
                  <a:pt x="25186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32AE16F-8B4B-F420-60BA-437F861135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249" y="2616181"/>
            <a:ext cx="4919806" cy="300639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65B7A93-546E-41B7-ED77-46D2CAD0A3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3046195"/>
            <a:ext cx="4916631" cy="246628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E4CA1DC-85B0-950F-192D-E06B9B2BF3F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371FF67-981F-3A72-C009-4AB685E8D17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F0EA681-F68D-7899-0EF8-6D1EEA16C6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3615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sub headline_bo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D5CAD7-556E-F649-68B5-29CA63023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1566863"/>
            <a:ext cx="4919805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62CDD8D-4876-C624-62DF-4314EE2153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8381" y="1566863"/>
            <a:ext cx="5101681" cy="426660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BE5A53-C68A-1FCB-9958-4A520840BBE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B1A51E-8D3C-8CBB-A2A6-D14824F99E5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AD41FC-3C64-A64D-9095-A8546377BB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427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 on gradi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himmel, Electric blue, blå, Majorelleblå&#10;&#10;Automatiskt genererad beskrivning">
            <a:extLst>
              <a:ext uri="{FF2B5EF4-FFF2-40B4-BE49-F238E27FC236}">
                <a16:creationId xmlns:a16="http://schemas.microsoft.com/office/drawing/2014/main" id="{B2A821C7-8E03-4F55-68A1-2414960976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6763" cy="685946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4BF3E849-3C5E-FD62-278D-F55E87FE03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1916" y="2508442"/>
            <a:ext cx="9072931" cy="1258551"/>
          </a:xfrm>
        </p:spPr>
        <p:txBody>
          <a:bodyPr anchor="b"/>
          <a:lstStyle>
            <a:lvl1pPr algn="ctr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0EF1796-C257-3203-0835-B77620C66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87791" y="6866613"/>
            <a:ext cx="1662762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DAAF140-EE41-D9F0-DA3E-9DA603549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043" y="6866613"/>
            <a:ext cx="457377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7D81137-E44E-4038-B287-767483FD80B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3" name="Picture 87" descr="Logo&#10;&#10;Description automatically generated">
            <a:extLst>
              <a:ext uri="{FF2B5EF4-FFF2-40B4-BE49-F238E27FC236}">
                <a16:creationId xmlns:a16="http://schemas.microsoft.com/office/drawing/2014/main" id="{32968CD3-0DCB-48B9-135D-071E64832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8041" y="156636"/>
            <a:ext cx="1940678" cy="683746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30161711-5610-911E-6D26-D542107B2D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596" y="3857993"/>
            <a:ext cx="9147572" cy="43183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01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91" indent="0" algn="ctr">
              <a:buNone/>
              <a:defRPr sz="1000"/>
            </a:lvl2pPr>
            <a:lvl3pPr marL="457383" indent="0" algn="ctr">
              <a:buNone/>
              <a:defRPr sz="900"/>
            </a:lvl3pPr>
            <a:lvl4pPr marL="686074" indent="0" algn="ctr">
              <a:buNone/>
              <a:defRPr sz="800"/>
            </a:lvl4pPr>
            <a:lvl5pPr marL="914766" indent="0" algn="ctr">
              <a:buNone/>
              <a:defRPr sz="800"/>
            </a:lvl5pPr>
            <a:lvl6pPr marL="1143457" indent="0" algn="ctr">
              <a:buNone/>
              <a:defRPr sz="800"/>
            </a:lvl6pPr>
            <a:lvl7pPr marL="1372149" indent="0" algn="ctr">
              <a:buNone/>
              <a:defRPr sz="800"/>
            </a:lvl7pPr>
            <a:lvl8pPr marL="1600840" indent="0" algn="ctr">
              <a:buNone/>
              <a:defRPr sz="800"/>
            </a:lvl8pPr>
            <a:lvl9pPr marL="1829532" indent="0" algn="ctr">
              <a:buNone/>
              <a:defRPr sz="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F9DD77-FE60-4E53-9F49-CE0AEA1BF7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4181" y="4375497"/>
            <a:ext cx="3708400" cy="914400"/>
          </a:xfrm>
        </p:spPr>
        <p:txBody>
          <a:bodyPr/>
          <a:lstStyle>
            <a:lvl1pPr algn="ctr">
              <a:defRPr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 in format YYYY.MM.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9E0F7D-794E-CD64-F623-E053238C4F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 - 3 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DFF440C-7F1C-DF9C-0301-DC0201F903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93925" y="635031"/>
            <a:ext cx="2586518" cy="2327278"/>
          </a:xfrm>
          <a:custGeom>
            <a:avLst/>
            <a:gdLst>
              <a:gd name="connsiteX0" fmla="*/ 254098 w 5171016"/>
              <a:gd name="connsiteY0" fmla="*/ 0 h 4652403"/>
              <a:gd name="connsiteX1" fmla="*/ 4916918 w 5171016"/>
              <a:gd name="connsiteY1" fmla="*/ 0 h 4652403"/>
              <a:gd name="connsiteX2" fmla="*/ 5171016 w 5171016"/>
              <a:gd name="connsiteY2" fmla="*/ 254098 h 4652403"/>
              <a:gd name="connsiteX3" fmla="*/ 5171016 w 5171016"/>
              <a:gd name="connsiteY3" fmla="*/ 4398305 h 4652403"/>
              <a:gd name="connsiteX4" fmla="*/ 4916918 w 5171016"/>
              <a:gd name="connsiteY4" fmla="*/ 4652403 h 4652403"/>
              <a:gd name="connsiteX5" fmla="*/ 254098 w 5171016"/>
              <a:gd name="connsiteY5" fmla="*/ 4652403 h 4652403"/>
              <a:gd name="connsiteX6" fmla="*/ 0 w 5171016"/>
              <a:gd name="connsiteY6" fmla="*/ 4398305 h 4652403"/>
              <a:gd name="connsiteX7" fmla="*/ 0 w 5171016"/>
              <a:gd name="connsiteY7" fmla="*/ 254098 h 4652403"/>
              <a:gd name="connsiteX8" fmla="*/ 254098 w 5171016"/>
              <a:gd name="connsiteY8" fmla="*/ 0 h 465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1016" h="4652403">
                <a:moveTo>
                  <a:pt x="254098" y="0"/>
                </a:moveTo>
                <a:lnTo>
                  <a:pt x="4916918" y="0"/>
                </a:lnTo>
                <a:cubicBezTo>
                  <a:pt x="5057252" y="0"/>
                  <a:pt x="5171016" y="113764"/>
                  <a:pt x="5171016" y="254098"/>
                </a:cubicBezTo>
                <a:lnTo>
                  <a:pt x="5171016" y="4398305"/>
                </a:lnTo>
                <a:cubicBezTo>
                  <a:pt x="5171016" y="4538639"/>
                  <a:pt x="5057252" y="4652403"/>
                  <a:pt x="4916918" y="4652403"/>
                </a:cubicBezTo>
                <a:lnTo>
                  <a:pt x="254098" y="4652403"/>
                </a:lnTo>
                <a:cubicBezTo>
                  <a:pt x="113764" y="4652403"/>
                  <a:pt x="0" y="4538639"/>
                  <a:pt x="0" y="4398305"/>
                </a:cubicBezTo>
                <a:lnTo>
                  <a:pt x="0" y="254098"/>
                </a:lnTo>
                <a:cubicBezTo>
                  <a:pt x="0" y="113764"/>
                  <a:pt x="113764" y="0"/>
                  <a:pt x="2540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82EBBE7-6896-B16D-B59A-E4F4337650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74204" y="635031"/>
            <a:ext cx="2586517" cy="2327278"/>
          </a:xfrm>
          <a:custGeom>
            <a:avLst/>
            <a:gdLst>
              <a:gd name="connsiteX0" fmla="*/ 254098 w 5171014"/>
              <a:gd name="connsiteY0" fmla="*/ 0 h 4652403"/>
              <a:gd name="connsiteX1" fmla="*/ 4916918 w 5171014"/>
              <a:gd name="connsiteY1" fmla="*/ 0 h 4652403"/>
              <a:gd name="connsiteX2" fmla="*/ 5171014 w 5171014"/>
              <a:gd name="connsiteY2" fmla="*/ 254098 h 4652403"/>
              <a:gd name="connsiteX3" fmla="*/ 5171014 w 5171014"/>
              <a:gd name="connsiteY3" fmla="*/ 4398305 h 4652403"/>
              <a:gd name="connsiteX4" fmla="*/ 4916918 w 5171014"/>
              <a:gd name="connsiteY4" fmla="*/ 4652403 h 4652403"/>
              <a:gd name="connsiteX5" fmla="*/ 254098 w 5171014"/>
              <a:gd name="connsiteY5" fmla="*/ 4652403 h 4652403"/>
              <a:gd name="connsiteX6" fmla="*/ 0 w 5171014"/>
              <a:gd name="connsiteY6" fmla="*/ 4398305 h 4652403"/>
              <a:gd name="connsiteX7" fmla="*/ 0 w 5171014"/>
              <a:gd name="connsiteY7" fmla="*/ 254098 h 4652403"/>
              <a:gd name="connsiteX8" fmla="*/ 254098 w 5171014"/>
              <a:gd name="connsiteY8" fmla="*/ 0 h 465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1014" h="4652403">
                <a:moveTo>
                  <a:pt x="254098" y="0"/>
                </a:moveTo>
                <a:lnTo>
                  <a:pt x="4916918" y="0"/>
                </a:lnTo>
                <a:cubicBezTo>
                  <a:pt x="5057252" y="0"/>
                  <a:pt x="5171014" y="113764"/>
                  <a:pt x="5171014" y="254098"/>
                </a:cubicBezTo>
                <a:lnTo>
                  <a:pt x="5171014" y="4398305"/>
                </a:lnTo>
                <a:cubicBezTo>
                  <a:pt x="5171014" y="4538639"/>
                  <a:pt x="5057252" y="4652403"/>
                  <a:pt x="4916918" y="4652403"/>
                </a:cubicBezTo>
                <a:lnTo>
                  <a:pt x="254098" y="4652403"/>
                </a:lnTo>
                <a:cubicBezTo>
                  <a:pt x="113764" y="4652403"/>
                  <a:pt x="0" y="4538639"/>
                  <a:pt x="0" y="4398305"/>
                </a:cubicBezTo>
                <a:lnTo>
                  <a:pt x="0" y="254098"/>
                </a:lnTo>
                <a:cubicBezTo>
                  <a:pt x="0" y="113764"/>
                  <a:pt x="113764" y="0"/>
                  <a:pt x="2540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C83967C-3E2E-4C65-0B54-564BF60379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3925" y="3431400"/>
            <a:ext cx="5366797" cy="2327278"/>
          </a:xfrm>
          <a:custGeom>
            <a:avLst/>
            <a:gdLst>
              <a:gd name="connsiteX0" fmla="*/ 254098 w 10729402"/>
              <a:gd name="connsiteY0" fmla="*/ 0 h 4652403"/>
              <a:gd name="connsiteX1" fmla="*/ 10475304 w 10729402"/>
              <a:gd name="connsiteY1" fmla="*/ 0 h 4652403"/>
              <a:gd name="connsiteX2" fmla="*/ 10729402 w 10729402"/>
              <a:gd name="connsiteY2" fmla="*/ 254097 h 4652403"/>
              <a:gd name="connsiteX3" fmla="*/ 10729402 w 10729402"/>
              <a:gd name="connsiteY3" fmla="*/ 4398305 h 4652403"/>
              <a:gd name="connsiteX4" fmla="*/ 10475304 w 10729402"/>
              <a:gd name="connsiteY4" fmla="*/ 4652403 h 4652403"/>
              <a:gd name="connsiteX5" fmla="*/ 254098 w 10729402"/>
              <a:gd name="connsiteY5" fmla="*/ 4652403 h 4652403"/>
              <a:gd name="connsiteX6" fmla="*/ 0 w 10729402"/>
              <a:gd name="connsiteY6" fmla="*/ 4398305 h 4652403"/>
              <a:gd name="connsiteX7" fmla="*/ 0 w 10729402"/>
              <a:gd name="connsiteY7" fmla="*/ 254097 h 4652403"/>
              <a:gd name="connsiteX8" fmla="*/ 254098 w 10729402"/>
              <a:gd name="connsiteY8" fmla="*/ 0 h 465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29402" h="4652403">
                <a:moveTo>
                  <a:pt x="254098" y="0"/>
                </a:moveTo>
                <a:lnTo>
                  <a:pt x="10475304" y="0"/>
                </a:lnTo>
                <a:cubicBezTo>
                  <a:pt x="10615640" y="0"/>
                  <a:pt x="10729402" y="113763"/>
                  <a:pt x="10729402" y="254097"/>
                </a:cubicBezTo>
                <a:lnTo>
                  <a:pt x="10729402" y="4398305"/>
                </a:lnTo>
                <a:cubicBezTo>
                  <a:pt x="10729402" y="4538639"/>
                  <a:pt x="10615640" y="4652403"/>
                  <a:pt x="10475304" y="4652403"/>
                </a:cubicBezTo>
                <a:lnTo>
                  <a:pt x="254098" y="4652403"/>
                </a:lnTo>
                <a:cubicBezTo>
                  <a:pt x="113764" y="4652403"/>
                  <a:pt x="0" y="4538639"/>
                  <a:pt x="0" y="4398305"/>
                </a:cubicBezTo>
                <a:lnTo>
                  <a:pt x="0" y="254097"/>
                </a:lnTo>
                <a:cubicBezTo>
                  <a:pt x="0" y="113763"/>
                  <a:pt x="113764" y="0"/>
                  <a:pt x="2540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1FF8781-00CC-23EC-CD3A-6B24094DAD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2875" y="3062117"/>
            <a:ext cx="2586518" cy="16517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US"/>
              <a:t>Image text</a:t>
            </a:r>
            <a:endParaRPr lang="en-US" dirty="0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174B17F-B90F-02FC-AD1F-38C1B65C0C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4204" y="3062117"/>
            <a:ext cx="2586518" cy="16517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US"/>
              <a:t>Image text</a:t>
            </a:r>
            <a:endParaRPr lang="en-US" dirty="0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25B054F-3B9D-9A66-B4BD-60F0C29FEA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875" y="5859399"/>
            <a:ext cx="5367846" cy="16517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US"/>
              <a:t>Image text</a:t>
            </a:r>
            <a:endParaRPr lang="en-US" dirty="0"/>
          </a:p>
        </p:txBody>
      </p:sp>
      <p:sp>
        <p:nvSpPr>
          <p:cNvPr id="9" name="!!footnote">
            <a:extLst>
              <a:ext uri="{FF2B5EF4-FFF2-40B4-BE49-F238E27FC236}">
                <a16:creationId xmlns:a16="http://schemas.microsoft.com/office/drawing/2014/main" id="{91203616-0460-B6D7-CB90-E18D8DF9ED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2" name="Title 16">
            <a:extLst>
              <a:ext uri="{FF2B5EF4-FFF2-40B4-BE49-F238E27FC236}">
                <a16:creationId xmlns:a16="http://schemas.microsoft.com/office/drawing/2014/main" id="{9A56A97A-8C8A-1F6F-604D-2CFE0C829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D33D88A-F5CC-FCE1-F59A-AC4EF39813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5248" y="1602927"/>
            <a:ext cx="4688313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1E37170-4427-0B62-AAF3-7CA051FE40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424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45D369-7585-A201-2D7D-DDF725E41D6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5212FC1-18AB-40B2-CC32-090FD741D98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519943-C934-DAC7-72FC-406FBEB5215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536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and conten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FFB2E4-DCFD-3ED7-6B03-C9F3467A6F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8382" y="0"/>
            <a:ext cx="6098382" cy="68611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320B2DD0-4361-DEE3-F31D-6C2F2BA23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B061C1CF-3F90-C9C1-50A0-39A428806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4AABFD5-3983-E288-8464-755E341D76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0E634EB-D56F-1AF8-E525-50CD11D8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24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11651B-C9E8-1398-BE6C-7CE3E944A71A}"/>
              </a:ext>
            </a:extLst>
          </p:cNvPr>
          <p:cNvGrpSpPr/>
          <p:nvPr userDrawn="1"/>
        </p:nvGrpSpPr>
        <p:grpSpPr>
          <a:xfrm>
            <a:off x="9111198" y="6354685"/>
            <a:ext cx="2617467" cy="435311"/>
            <a:chOff x="9111198" y="5884921"/>
            <a:chExt cx="2617467" cy="435311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0BF1378D-7196-AF61-056E-D306319652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996237" y="5884921"/>
              <a:ext cx="732428" cy="435311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76976BD-3812-9D44-6821-1EDEEEB3E3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934381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06A592F-5477-0E14-E1CC-DC71A7D32E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111198" y="6020943"/>
              <a:ext cx="1702048" cy="166982"/>
            </a:xfrm>
            <a:prstGeom prst="rect">
              <a:avLst/>
            </a:prstGeom>
          </p:spPr>
        </p:pic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9F7A7A-9BAE-63C1-C3A2-74BB964C75A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79DC9CD-00B6-4E34-1496-2BAEE240DB0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22B319E-599C-BE59-FAF5-595C2AB827C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2446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4937540"/>
            <a:ext cx="5101681" cy="12883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54246E3-23E7-5DDD-DC88-94F395F0C5C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042" y="2032941"/>
            <a:ext cx="5104063" cy="2794500"/>
          </a:xfrm>
          <a:custGeom>
            <a:avLst/>
            <a:gdLst>
              <a:gd name="connsiteX0" fmla="*/ 271276 w 10729913"/>
              <a:gd name="connsiteY0" fmla="*/ 0 h 5586413"/>
              <a:gd name="connsiteX1" fmla="*/ 3973326 w 10729913"/>
              <a:gd name="connsiteY1" fmla="*/ 0 h 5586413"/>
              <a:gd name="connsiteX2" fmla="*/ 6756587 w 10729913"/>
              <a:gd name="connsiteY2" fmla="*/ 0 h 5586413"/>
              <a:gd name="connsiteX3" fmla="*/ 10458637 w 10729913"/>
              <a:gd name="connsiteY3" fmla="*/ 0 h 5586413"/>
              <a:gd name="connsiteX4" fmla="*/ 10729913 w 10729913"/>
              <a:gd name="connsiteY4" fmla="*/ 271276 h 5586413"/>
              <a:gd name="connsiteX5" fmla="*/ 10729913 w 10729913"/>
              <a:gd name="connsiteY5" fmla="*/ 5315137 h 5586413"/>
              <a:gd name="connsiteX6" fmla="*/ 10458637 w 10729913"/>
              <a:gd name="connsiteY6" fmla="*/ 5586413 h 5586413"/>
              <a:gd name="connsiteX7" fmla="*/ 6756587 w 10729913"/>
              <a:gd name="connsiteY7" fmla="*/ 5586413 h 5586413"/>
              <a:gd name="connsiteX8" fmla="*/ 3973326 w 10729913"/>
              <a:gd name="connsiteY8" fmla="*/ 5586413 h 5586413"/>
              <a:gd name="connsiteX9" fmla="*/ 271276 w 10729913"/>
              <a:gd name="connsiteY9" fmla="*/ 5586413 h 5586413"/>
              <a:gd name="connsiteX10" fmla="*/ 0 w 10729913"/>
              <a:gd name="connsiteY10" fmla="*/ 5315137 h 5586413"/>
              <a:gd name="connsiteX11" fmla="*/ 0 w 10729913"/>
              <a:gd name="connsiteY11" fmla="*/ 271276 h 5586413"/>
              <a:gd name="connsiteX12" fmla="*/ 271276 w 10729913"/>
              <a:gd name="connsiteY12" fmla="*/ 0 h 558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29913" h="5586413">
                <a:moveTo>
                  <a:pt x="271276" y="0"/>
                </a:moveTo>
                <a:lnTo>
                  <a:pt x="3973326" y="0"/>
                </a:lnTo>
                <a:lnTo>
                  <a:pt x="6756587" y="0"/>
                </a:lnTo>
                <a:lnTo>
                  <a:pt x="10458637" y="0"/>
                </a:lnTo>
                <a:cubicBezTo>
                  <a:pt x="10608459" y="0"/>
                  <a:pt x="10729913" y="121454"/>
                  <a:pt x="10729913" y="271276"/>
                </a:cubicBezTo>
                <a:lnTo>
                  <a:pt x="10729913" y="5315137"/>
                </a:lnTo>
                <a:cubicBezTo>
                  <a:pt x="10729913" y="5464959"/>
                  <a:pt x="10608459" y="5586413"/>
                  <a:pt x="10458637" y="5586413"/>
                </a:cubicBezTo>
                <a:lnTo>
                  <a:pt x="6756587" y="5586413"/>
                </a:lnTo>
                <a:lnTo>
                  <a:pt x="3973326" y="5586413"/>
                </a:lnTo>
                <a:lnTo>
                  <a:pt x="271276" y="5586413"/>
                </a:lnTo>
                <a:cubicBezTo>
                  <a:pt x="121454" y="5586413"/>
                  <a:pt x="0" y="5464959"/>
                  <a:pt x="0" y="5315137"/>
                </a:cubicBez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09F0EDBD-9E3C-B73F-3BCF-0ADBD45117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784EAB82-9010-EE6A-8508-8A72F8CA6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ECB4CC1-4FE0-FCB1-9B13-C09E1669C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59041" y="4937540"/>
            <a:ext cx="5101681" cy="12883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3734E219-A973-9F5A-A85A-603C2F845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456659" y="2032941"/>
            <a:ext cx="5104063" cy="2794500"/>
          </a:xfrm>
          <a:custGeom>
            <a:avLst/>
            <a:gdLst>
              <a:gd name="connsiteX0" fmla="*/ 271276 w 10729913"/>
              <a:gd name="connsiteY0" fmla="*/ 0 h 5586413"/>
              <a:gd name="connsiteX1" fmla="*/ 3973326 w 10729913"/>
              <a:gd name="connsiteY1" fmla="*/ 0 h 5586413"/>
              <a:gd name="connsiteX2" fmla="*/ 6756587 w 10729913"/>
              <a:gd name="connsiteY2" fmla="*/ 0 h 5586413"/>
              <a:gd name="connsiteX3" fmla="*/ 10458637 w 10729913"/>
              <a:gd name="connsiteY3" fmla="*/ 0 h 5586413"/>
              <a:gd name="connsiteX4" fmla="*/ 10729913 w 10729913"/>
              <a:gd name="connsiteY4" fmla="*/ 271276 h 5586413"/>
              <a:gd name="connsiteX5" fmla="*/ 10729913 w 10729913"/>
              <a:gd name="connsiteY5" fmla="*/ 5315137 h 5586413"/>
              <a:gd name="connsiteX6" fmla="*/ 10458637 w 10729913"/>
              <a:gd name="connsiteY6" fmla="*/ 5586413 h 5586413"/>
              <a:gd name="connsiteX7" fmla="*/ 6756587 w 10729913"/>
              <a:gd name="connsiteY7" fmla="*/ 5586413 h 5586413"/>
              <a:gd name="connsiteX8" fmla="*/ 3973326 w 10729913"/>
              <a:gd name="connsiteY8" fmla="*/ 5586413 h 5586413"/>
              <a:gd name="connsiteX9" fmla="*/ 271276 w 10729913"/>
              <a:gd name="connsiteY9" fmla="*/ 5586413 h 5586413"/>
              <a:gd name="connsiteX10" fmla="*/ 0 w 10729913"/>
              <a:gd name="connsiteY10" fmla="*/ 5315137 h 5586413"/>
              <a:gd name="connsiteX11" fmla="*/ 0 w 10729913"/>
              <a:gd name="connsiteY11" fmla="*/ 271276 h 5586413"/>
              <a:gd name="connsiteX12" fmla="*/ 271276 w 10729913"/>
              <a:gd name="connsiteY12" fmla="*/ 0 h 558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29913" h="5586413">
                <a:moveTo>
                  <a:pt x="271276" y="0"/>
                </a:moveTo>
                <a:lnTo>
                  <a:pt x="3973326" y="0"/>
                </a:lnTo>
                <a:lnTo>
                  <a:pt x="6756587" y="0"/>
                </a:lnTo>
                <a:lnTo>
                  <a:pt x="10458637" y="0"/>
                </a:lnTo>
                <a:cubicBezTo>
                  <a:pt x="10608459" y="0"/>
                  <a:pt x="10729913" y="121454"/>
                  <a:pt x="10729913" y="271276"/>
                </a:cubicBezTo>
                <a:lnTo>
                  <a:pt x="10729913" y="5315137"/>
                </a:lnTo>
                <a:cubicBezTo>
                  <a:pt x="10729913" y="5464959"/>
                  <a:pt x="10608459" y="5586413"/>
                  <a:pt x="10458637" y="5586413"/>
                </a:cubicBezTo>
                <a:lnTo>
                  <a:pt x="6756587" y="5586413"/>
                </a:lnTo>
                <a:lnTo>
                  <a:pt x="3973326" y="5586413"/>
                </a:lnTo>
                <a:lnTo>
                  <a:pt x="271276" y="5586413"/>
                </a:lnTo>
                <a:cubicBezTo>
                  <a:pt x="121454" y="5586413"/>
                  <a:pt x="0" y="5464959"/>
                  <a:pt x="0" y="5315137"/>
                </a:cubicBez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13E9B2B-287E-821B-B2EA-65914924BB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E08DA81F-2567-BD9F-5151-B368C4D60DD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B27BE4A-772F-135E-B84D-86C6013D20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2CDA807-B567-1EB4-F8FB-237324BA23C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9037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4937540"/>
            <a:ext cx="3512922" cy="12883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7C5CF1-AFF0-722D-B201-983D718839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3111" y="4937540"/>
            <a:ext cx="3512922" cy="12883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3E73EA5-F80A-C60B-1349-F73870654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44623" y="4937540"/>
            <a:ext cx="3512922" cy="12883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F3451F8-EB4D-FADF-F2A8-8ED1D326496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042" y="2032941"/>
            <a:ext cx="3515304" cy="2794500"/>
          </a:xfrm>
          <a:custGeom>
            <a:avLst/>
            <a:gdLst>
              <a:gd name="connsiteX0" fmla="*/ 271276 w 7027863"/>
              <a:gd name="connsiteY0" fmla="*/ 0 h 5586413"/>
              <a:gd name="connsiteX1" fmla="*/ 6756587 w 7027863"/>
              <a:gd name="connsiteY1" fmla="*/ 0 h 5586413"/>
              <a:gd name="connsiteX2" fmla="*/ 7027863 w 7027863"/>
              <a:gd name="connsiteY2" fmla="*/ 271276 h 5586413"/>
              <a:gd name="connsiteX3" fmla="*/ 7027863 w 7027863"/>
              <a:gd name="connsiteY3" fmla="*/ 5315137 h 5586413"/>
              <a:gd name="connsiteX4" fmla="*/ 6756587 w 7027863"/>
              <a:gd name="connsiteY4" fmla="*/ 5586413 h 5586413"/>
              <a:gd name="connsiteX5" fmla="*/ 271276 w 7027863"/>
              <a:gd name="connsiteY5" fmla="*/ 5586413 h 5586413"/>
              <a:gd name="connsiteX6" fmla="*/ 0 w 7027863"/>
              <a:gd name="connsiteY6" fmla="*/ 5315137 h 5586413"/>
              <a:gd name="connsiteX7" fmla="*/ 0 w 7027863"/>
              <a:gd name="connsiteY7" fmla="*/ 271276 h 5586413"/>
              <a:gd name="connsiteX8" fmla="*/ 271276 w 7027863"/>
              <a:gd name="connsiteY8" fmla="*/ 0 h 558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27863" h="5586413">
                <a:moveTo>
                  <a:pt x="271276" y="0"/>
                </a:moveTo>
                <a:lnTo>
                  <a:pt x="6756587" y="0"/>
                </a:lnTo>
                <a:cubicBezTo>
                  <a:pt x="6906409" y="0"/>
                  <a:pt x="7027863" y="121454"/>
                  <a:pt x="7027863" y="271276"/>
                </a:cubicBezTo>
                <a:lnTo>
                  <a:pt x="7027863" y="5315137"/>
                </a:lnTo>
                <a:cubicBezTo>
                  <a:pt x="7027863" y="5464959"/>
                  <a:pt x="6906409" y="5586413"/>
                  <a:pt x="6756587" y="5586413"/>
                </a:cubicBezTo>
                <a:lnTo>
                  <a:pt x="271276" y="5586413"/>
                </a:lnTo>
                <a:cubicBezTo>
                  <a:pt x="121454" y="5586413"/>
                  <a:pt x="0" y="5464959"/>
                  <a:pt x="0" y="5315137"/>
                </a:cubicBez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B0C355B-5DC4-E82D-9627-B057D5CB24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40730" y="2032941"/>
            <a:ext cx="3515304" cy="2794500"/>
          </a:xfrm>
          <a:custGeom>
            <a:avLst/>
            <a:gdLst>
              <a:gd name="connsiteX0" fmla="*/ 271276 w 7027863"/>
              <a:gd name="connsiteY0" fmla="*/ 0 h 5586413"/>
              <a:gd name="connsiteX1" fmla="*/ 6756587 w 7027863"/>
              <a:gd name="connsiteY1" fmla="*/ 0 h 5586413"/>
              <a:gd name="connsiteX2" fmla="*/ 7027863 w 7027863"/>
              <a:gd name="connsiteY2" fmla="*/ 271276 h 5586413"/>
              <a:gd name="connsiteX3" fmla="*/ 7027863 w 7027863"/>
              <a:gd name="connsiteY3" fmla="*/ 5315137 h 5586413"/>
              <a:gd name="connsiteX4" fmla="*/ 6756587 w 7027863"/>
              <a:gd name="connsiteY4" fmla="*/ 5586413 h 5586413"/>
              <a:gd name="connsiteX5" fmla="*/ 271276 w 7027863"/>
              <a:gd name="connsiteY5" fmla="*/ 5586413 h 5586413"/>
              <a:gd name="connsiteX6" fmla="*/ 0 w 7027863"/>
              <a:gd name="connsiteY6" fmla="*/ 5315137 h 5586413"/>
              <a:gd name="connsiteX7" fmla="*/ 0 w 7027863"/>
              <a:gd name="connsiteY7" fmla="*/ 271276 h 5586413"/>
              <a:gd name="connsiteX8" fmla="*/ 271276 w 7027863"/>
              <a:gd name="connsiteY8" fmla="*/ 0 h 558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27863" h="5586413">
                <a:moveTo>
                  <a:pt x="271276" y="0"/>
                </a:moveTo>
                <a:lnTo>
                  <a:pt x="6756587" y="0"/>
                </a:lnTo>
                <a:cubicBezTo>
                  <a:pt x="6906409" y="0"/>
                  <a:pt x="7027863" y="121454"/>
                  <a:pt x="7027863" y="271276"/>
                </a:cubicBezTo>
                <a:lnTo>
                  <a:pt x="7027863" y="5315137"/>
                </a:lnTo>
                <a:cubicBezTo>
                  <a:pt x="7027863" y="5464959"/>
                  <a:pt x="6906409" y="5586413"/>
                  <a:pt x="6756587" y="5586413"/>
                </a:cubicBezTo>
                <a:lnTo>
                  <a:pt x="271276" y="5586413"/>
                </a:lnTo>
                <a:cubicBezTo>
                  <a:pt x="121454" y="5586413"/>
                  <a:pt x="0" y="5464959"/>
                  <a:pt x="0" y="5315137"/>
                </a:cubicBez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82E95EE-D3DF-A37B-E395-A60726DCF2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45417" y="2032941"/>
            <a:ext cx="3515304" cy="2794500"/>
          </a:xfrm>
          <a:custGeom>
            <a:avLst/>
            <a:gdLst>
              <a:gd name="connsiteX0" fmla="*/ 271276 w 7027862"/>
              <a:gd name="connsiteY0" fmla="*/ 0 h 5586413"/>
              <a:gd name="connsiteX1" fmla="*/ 6756586 w 7027862"/>
              <a:gd name="connsiteY1" fmla="*/ 0 h 5586413"/>
              <a:gd name="connsiteX2" fmla="*/ 7027862 w 7027862"/>
              <a:gd name="connsiteY2" fmla="*/ 271276 h 5586413"/>
              <a:gd name="connsiteX3" fmla="*/ 7027862 w 7027862"/>
              <a:gd name="connsiteY3" fmla="*/ 5315137 h 5586413"/>
              <a:gd name="connsiteX4" fmla="*/ 6756586 w 7027862"/>
              <a:gd name="connsiteY4" fmla="*/ 5586413 h 5586413"/>
              <a:gd name="connsiteX5" fmla="*/ 271276 w 7027862"/>
              <a:gd name="connsiteY5" fmla="*/ 5586413 h 5586413"/>
              <a:gd name="connsiteX6" fmla="*/ 0 w 7027862"/>
              <a:gd name="connsiteY6" fmla="*/ 5315137 h 5586413"/>
              <a:gd name="connsiteX7" fmla="*/ 0 w 7027862"/>
              <a:gd name="connsiteY7" fmla="*/ 271276 h 5586413"/>
              <a:gd name="connsiteX8" fmla="*/ 271276 w 7027862"/>
              <a:gd name="connsiteY8" fmla="*/ 0 h 558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27862" h="5586413">
                <a:moveTo>
                  <a:pt x="271276" y="0"/>
                </a:moveTo>
                <a:lnTo>
                  <a:pt x="6756586" y="0"/>
                </a:lnTo>
                <a:cubicBezTo>
                  <a:pt x="6906410" y="0"/>
                  <a:pt x="7027862" y="121454"/>
                  <a:pt x="7027862" y="271276"/>
                </a:cubicBezTo>
                <a:lnTo>
                  <a:pt x="7027862" y="5315137"/>
                </a:lnTo>
                <a:cubicBezTo>
                  <a:pt x="7027862" y="5464959"/>
                  <a:pt x="6906410" y="5586413"/>
                  <a:pt x="6756586" y="5586413"/>
                </a:cubicBezTo>
                <a:lnTo>
                  <a:pt x="271276" y="5586413"/>
                </a:lnTo>
                <a:cubicBezTo>
                  <a:pt x="121454" y="5586413"/>
                  <a:pt x="0" y="5464959"/>
                  <a:pt x="0" y="5315137"/>
                </a:cubicBez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36098C8-458A-C2DE-27F1-3525323CE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91EEA761-6D24-8440-9FBA-DC5F9BD587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3D10304-CBDC-BFBE-79D2-92A6866C28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6C218C-C72E-202C-4121-3914EB64D35A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494273-265C-D87D-5497-CF3D16A3156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98A95EE-BF94-005D-5420-2452CF9B14F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9843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9A991CA-B9F1-AB19-D002-66C02E8905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042" y="2032941"/>
            <a:ext cx="3515304" cy="4191749"/>
          </a:xfrm>
          <a:custGeom>
            <a:avLst/>
            <a:gdLst>
              <a:gd name="connsiteX0" fmla="*/ 271276 w 7027863"/>
              <a:gd name="connsiteY0" fmla="*/ 0 h 8379619"/>
              <a:gd name="connsiteX1" fmla="*/ 6756587 w 7027863"/>
              <a:gd name="connsiteY1" fmla="*/ 0 h 8379619"/>
              <a:gd name="connsiteX2" fmla="*/ 7027863 w 7027863"/>
              <a:gd name="connsiteY2" fmla="*/ 271276 h 8379619"/>
              <a:gd name="connsiteX3" fmla="*/ 7027863 w 7027863"/>
              <a:gd name="connsiteY3" fmla="*/ 3064482 h 8379619"/>
              <a:gd name="connsiteX4" fmla="*/ 7027863 w 7027863"/>
              <a:gd name="connsiteY4" fmla="*/ 5315137 h 8379619"/>
              <a:gd name="connsiteX5" fmla="*/ 7027863 w 7027863"/>
              <a:gd name="connsiteY5" fmla="*/ 8108343 h 8379619"/>
              <a:gd name="connsiteX6" fmla="*/ 6756587 w 7027863"/>
              <a:gd name="connsiteY6" fmla="*/ 8379619 h 8379619"/>
              <a:gd name="connsiteX7" fmla="*/ 271276 w 7027863"/>
              <a:gd name="connsiteY7" fmla="*/ 8379619 h 8379619"/>
              <a:gd name="connsiteX8" fmla="*/ 0 w 7027863"/>
              <a:gd name="connsiteY8" fmla="*/ 8108343 h 8379619"/>
              <a:gd name="connsiteX9" fmla="*/ 0 w 7027863"/>
              <a:gd name="connsiteY9" fmla="*/ 5315137 h 8379619"/>
              <a:gd name="connsiteX10" fmla="*/ 0 w 7027863"/>
              <a:gd name="connsiteY10" fmla="*/ 3064482 h 8379619"/>
              <a:gd name="connsiteX11" fmla="*/ 0 w 7027863"/>
              <a:gd name="connsiteY11" fmla="*/ 271276 h 8379619"/>
              <a:gd name="connsiteX12" fmla="*/ 271276 w 7027863"/>
              <a:gd name="connsiteY12" fmla="*/ 0 h 837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27863" h="8379619">
                <a:moveTo>
                  <a:pt x="271276" y="0"/>
                </a:moveTo>
                <a:lnTo>
                  <a:pt x="6756587" y="0"/>
                </a:lnTo>
                <a:cubicBezTo>
                  <a:pt x="6906409" y="0"/>
                  <a:pt x="7027863" y="121454"/>
                  <a:pt x="7027863" y="271276"/>
                </a:cubicBezTo>
                <a:lnTo>
                  <a:pt x="7027863" y="3064482"/>
                </a:lnTo>
                <a:lnTo>
                  <a:pt x="7027863" y="5315137"/>
                </a:lnTo>
                <a:lnTo>
                  <a:pt x="7027863" y="8108343"/>
                </a:lnTo>
                <a:cubicBezTo>
                  <a:pt x="7027863" y="8258165"/>
                  <a:pt x="6906409" y="8379619"/>
                  <a:pt x="6756587" y="8379619"/>
                </a:cubicBezTo>
                <a:lnTo>
                  <a:pt x="271276" y="8379619"/>
                </a:lnTo>
                <a:cubicBezTo>
                  <a:pt x="121454" y="8379619"/>
                  <a:pt x="0" y="8258165"/>
                  <a:pt x="0" y="8108343"/>
                </a:cubicBezTo>
                <a:lnTo>
                  <a:pt x="0" y="5315137"/>
                </a:lnTo>
                <a:lnTo>
                  <a:pt x="0" y="3064482"/>
                </a:ln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9D25328-CA1C-EDF3-F822-FEA1F5378E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40730" y="2032941"/>
            <a:ext cx="3515304" cy="4191749"/>
          </a:xfrm>
          <a:custGeom>
            <a:avLst/>
            <a:gdLst>
              <a:gd name="connsiteX0" fmla="*/ 271276 w 7027863"/>
              <a:gd name="connsiteY0" fmla="*/ 0 h 8379619"/>
              <a:gd name="connsiteX1" fmla="*/ 6756587 w 7027863"/>
              <a:gd name="connsiteY1" fmla="*/ 0 h 8379619"/>
              <a:gd name="connsiteX2" fmla="*/ 7027863 w 7027863"/>
              <a:gd name="connsiteY2" fmla="*/ 271276 h 8379619"/>
              <a:gd name="connsiteX3" fmla="*/ 7027863 w 7027863"/>
              <a:gd name="connsiteY3" fmla="*/ 3064482 h 8379619"/>
              <a:gd name="connsiteX4" fmla="*/ 7027863 w 7027863"/>
              <a:gd name="connsiteY4" fmla="*/ 5315137 h 8379619"/>
              <a:gd name="connsiteX5" fmla="*/ 7027863 w 7027863"/>
              <a:gd name="connsiteY5" fmla="*/ 8108343 h 8379619"/>
              <a:gd name="connsiteX6" fmla="*/ 6756587 w 7027863"/>
              <a:gd name="connsiteY6" fmla="*/ 8379619 h 8379619"/>
              <a:gd name="connsiteX7" fmla="*/ 271276 w 7027863"/>
              <a:gd name="connsiteY7" fmla="*/ 8379619 h 8379619"/>
              <a:gd name="connsiteX8" fmla="*/ 0 w 7027863"/>
              <a:gd name="connsiteY8" fmla="*/ 8108343 h 8379619"/>
              <a:gd name="connsiteX9" fmla="*/ 0 w 7027863"/>
              <a:gd name="connsiteY9" fmla="*/ 5315137 h 8379619"/>
              <a:gd name="connsiteX10" fmla="*/ 0 w 7027863"/>
              <a:gd name="connsiteY10" fmla="*/ 3064482 h 8379619"/>
              <a:gd name="connsiteX11" fmla="*/ 0 w 7027863"/>
              <a:gd name="connsiteY11" fmla="*/ 271276 h 8379619"/>
              <a:gd name="connsiteX12" fmla="*/ 271276 w 7027863"/>
              <a:gd name="connsiteY12" fmla="*/ 0 h 837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27863" h="8379619">
                <a:moveTo>
                  <a:pt x="271276" y="0"/>
                </a:moveTo>
                <a:lnTo>
                  <a:pt x="6756587" y="0"/>
                </a:lnTo>
                <a:cubicBezTo>
                  <a:pt x="6906409" y="0"/>
                  <a:pt x="7027863" y="121454"/>
                  <a:pt x="7027863" y="271276"/>
                </a:cubicBezTo>
                <a:lnTo>
                  <a:pt x="7027863" y="3064482"/>
                </a:lnTo>
                <a:lnTo>
                  <a:pt x="7027863" y="5315137"/>
                </a:lnTo>
                <a:lnTo>
                  <a:pt x="7027863" y="8108343"/>
                </a:lnTo>
                <a:cubicBezTo>
                  <a:pt x="7027863" y="8258165"/>
                  <a:pt x="6906409" y="8379619"/>
                  <a:pt x="6756587" y="8379619"/>
                </a:cubicBezTo>
                <a:lnTo>
                  <a:pt x="271276" y="8379619"/>
                </a:lnTo>
                <a:cubicBezTo>
                  <a:pt x="121454" y="8379619"/>
                  <a:pt x="0" y="8258165"/>
                  <a:pt x="0" y="8108343"/>
                </a:cubicBezTo>
                <a:lnTo>
                  <a:pt x="0" y="5315137"/>
                </a:lnTo>
                <a:lnTo>
                  <a:pt x="0" y="3064482"/>
                </a:ln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D4DBE65-D1F4-F1A1-1407-5D86F6FC870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45417" y="2032941"/>
            <a:ext cx="3515304" cy="4191749"/>
          </a:xfrm>
          <a:custGeom>
            <a:avLst/>
            <a:gdLst>
              <a:gd name="connsiteX0" fmla="*/ 271276 w 7027862"/>
              <a:gd name="connsiteY0" fmla="*/ 0 h 8379619"/>
              <a:gd name="connsiteX1" fmla="*/ 6756586 w 7027862"/>
              <a:gd name="connsiteY1" fmla="*/ 0 h 8379619"/>
              <a:gd name="connsiteX2" fmla="*/ 7027862 w 7027862"/>
              <a:gd name="connsiteY2" fmla="*/ 271276 h 8379619"/>
              <a:gd name="connsiteX3" fmla="*/ 7027862 w 7027862"/>
              <a:gd name="connsiteY3" fmla="*/ 3064482 h 8379619"/>
              <a:gd name="connsiteX4" fmla="*/ 7027862 w 7027862"/>
              <a:gd name="connsiteY4" fmla="*/ 5315137 h 8379619"/>
              <a:gd name="connsiteX5" fmla="*/ 7027862 w 7027862"/>
              <a:gd name="connsiteY5" fmla="*/ 8108343 h 8379619"/>
              <a:gd name="connsiteX6" fmla="*/ 6756586 w 7027862"/>
              <a:gd name="connsiteY6" fmla="*/ 8379619 h 8379619"/>
              <a:gd name="connsiteX7" fmla="*/ 271276 w 7027862"/>
              <a:gd name="connsiteY7" fmla="*/ 8379619 h 8379619"/>
              <a:gd name="connsiteX8" fmla="*/ 0 w 7027862"/>
              <a:gd name="connsiteY8" fmla="*/ 8108343 h 8379619"/>
              <a:gd name="connsiteX9" fmla="*/ 0 w 7027862"/>
              <a:gd name="connsiteY9" fmla="*/ 5315137 h 8379619"/>
              <a:gd name="connsiteX10" fmla="*/ 0 w 7027862"/>
              <a:gd name="connsiteY10" fmla="*/ 3064482 h 8379619"/>
              <a:gd name="connsiteX11" fmla="*/ 0 w 7027862"/>
              <a:gd name="connsiteY11" fmla="*/ 271276 h 8379619"/>
              <a:gd name="connsiteX12" fmla="*/ 271276 w 7027862"/>
              <a:gd name="connsiteY12" fmla="*/ 0 h 837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27862" h="8379619">
                <a:moveTo>
                  <a:pt x="271276" y="0"/>
                </a:moveTo>
                <a:lnTo>
                  <a:pt x="6756586" y="0"/>
                </a:lnTo>
                <a:cubicBezTo>
                  <a:pt x="6906410" y="0"/>
                  <a:pt x="7027862" y="121454"/>
                  <a:pt x="7027862" y="271276"/>
                </a:cubicBezTo>
                <a:lnTo>
                  <a:pt x="7027862" y="3064482"/>
                </a:lnTo>
                <a:lnTo>
                  <a:pt x="7027862" y="5315137"/>
                </a:lnTo>
                <a:lnTo>
                  <a:pt x="7027862" y="8108343"/>
                </a:lnTo>
                <a:cubicBezTo>
                  <a:pt x="7027862" y="8258165"/>
                  <a:pt x="6906410" y="8379619"/>
                  <a:pt x="6756586" y="8379619"/>
                </a:cubicBezTo>
                <a:lnTo>
                  <a:pt x="271276" y="8379619"/>
                </a:lnTo>
                <a:cubicBezTo>
                  <a:pt x="121454" y="8379619"/>
                  <a:pt x="0" y="8258165"/>
                  <a:pt x="0" y="8108343"/>
                </a:cubicBezTo>
                <a:lnTo>
                  <a:pt x="0" y="5315137"/>
                </a:lnTo>
                <a:lnTo>
                  <a:pt x="0" y="3064482"/>
                </a:lnTo>
                <a:lnTo>
                  <a:pt x="0" y="271276"/>
                </a:lnTo>
                <a:cubicBezTo>
                  <a:pt x="0" y="121454"/>
                  <a:pt x="121454" y="0"/>
                  <a:pt x="27127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E03F32AF-4A91-185B-8B0B-BCB79D28BA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1DACA310-C383-8685-382F-4F862A1E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E899C46-EC28-CEBF-E8D8-A7FEDDFA96A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A53ED4-AEBA-D842-506E-86C3451785D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86CB2-049B-D8AD-1437-FC56808FC56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DDD625-5F86-4AC2-D3EA-61198F345C9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002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text plus one horizontal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7C5CF1-AFF0-722D-B201-983D718839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3665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3E73EA5-F80A-C60B-1349-F73870654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8906" y="4516940"/>
            <a:ext cx="5368640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54F5A7F-7840-D057-D242-5A4E77F5E0A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042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6815B8A-42EF-722F-44DF-185E1BD482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13665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6A98CC6-6073-FD4C-93E2-C3CF2831C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1287" y="2032940"/>
            <a:ext cx="5366258" cy="2329147"/>
          </a:xfrm>
          <a:custGeom>
            <a:avLst/>
            <a:gdLst>
              <a:gd name="connsiteX0" fmla="*/ 307398 w 10728324"/>
              <a:gd name="connsiteY0" fmla="*/ 0 h 4656138"/>
              <a:gd name="connsiteX1" fmla="*/ 10420926 w 10728324"/>
              <a:gd name="connsiteY1" fmla="*/ 0 h 4656138"/>
              <a:gd name="connsiteX2" fmla="*/ 10728324 w 10728324"/>
              <a:gd name="connsiteY2" fmla="*/ 307398 h 4656138"/>
              <a:gd name="connsiteX3" fmla="*/ 10728324 w 10728324"/>
              <a:gd name="connsiteY3" fmla="*/ 4348740 h 4656138"/>
              <a:gd name="connsiteX4" fmla="*/ 10420926 w 10728324"/>
              <a:gd name="connsiteY4" fmla="*/ 4656138 h 4656138"/>
              <a:gd name="connsiteX5" fmla="*/ 307398 w 10728324"/>
              <a:gd name="connsiteY5" fmla="*/ 4656138 h 4656138"/>
              <a:gd name="connsiteX6" fmla="*/ 0 w 10728324"/>
              <a:gd name="connsiteY6" fmla="*/ 4348740 h 4656138"/>
              <a:gd name="connsiteX7" fmla="*/ 0 w 10728324"/>
              <a:gd name="connsiteY7" fmla="*/ 307398 h 4656138"/>
              <a:gd name="connsiteX8" fmla="*/ 307398 w 10728324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28324" h="4656138">
                <a:moveTo>
                  <a:pt x="307398" y="0"/>
                </a:moveTo>
                <a:lnTo>
                  <a:pt x="10420926" y="0"/>
                </a:lnTo>
                <a:cubicBezTo>
                  <a:pt x="10590696" y="0"/>
                  <a:pt x="10728324" y="137627"/>
                  <a:pt x="10728324" y="307398"/>
                </a:cubicBezTo>
                <a:lnTo>
                  <a:pt x="10728324" y="4348740"/>
                </a:lnTo>
                <a:cubicBezTo>
                  <a:pt x="10728324" y="4518511"/>
                  <a:pt x="10590696" y="4656138"/>
                  <a:pt x="10420926" y="4656138"/>
                </a:cubicBezTo>
                <a:lnTo>
                  <a:pt x="307398" y="4656138"/>
                </a:lnTo>
                <a:cubicBezTo>
                  <a:pt x="137627" y="4656138"/>
                  <a:pt x="0" y="4518511"/>
                  <a:pt x="0" y="4348740"/>
                </a:cubicBezTo>
                <a:lnTo>
                  <a:pt x="0" y="307398"/>
                </a:lnTo>
                <a:cubicBezTo>
                  <a:pt x="0" y="137627"/>
                  <a:pt x="137627" y="0"/>
                  <a:pt x="3073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B7E943BB-33F0-42D2-8D23-AFFDA3B8EA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A184FC1A-6A66-7330-1D02-3BBBAC99A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B9734CC-992D-F70C-194B-133B6F3A4F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36DF70D-BD0F-7AAB-E744-60E45689D7E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2D67123-8D07-0743-E016-F8A57D8FC06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9A65C1C-CB1E-4FEB-C1CE-8FE3DFA4B35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5988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7C5CF1-AFF0-722D-B201-983D718839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3665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54F5A7F-7840-D057-D242-5A4E77F5E0A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042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6815B8A-42EF-722F-44DF-185E1BD482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13665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23B5CF-8007-0BB9-E579-78ED862034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6846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AFCAC63-A593-7569-DCA6-609015E1DA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72087" y="4516940"/>
            <a:ext cx="2586254" cy="17089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171A8E59-43F9-8897-7A08-A1276B9373A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94463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B4E3615A-9D0D-E8AE-FFFA-55D626907DB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72087" y="2032940"/>
            <a:ext cx="2588636" cy="2329147"/>
          </a:xfrm>
          <a:custGeom>
            <a:avLst/>
            <a:gdLst>
              <a:gd name="connsiteX0" fmla="*/ 288355 w 5175251"/>
              <a:gd name="connsiteY0" fmla="*/ 0 h 4656138"/>
              <a:gd name="connsiteX1" fmla="*/ 4886896 w 5175251"/>
              <a:gd name="connsiteY1" fmla="*/ 0 h 4656138"/>
              <a:gd name="connsiteX2" fmla="*/ 5175251 w 5175251"/>
              <a:gd name="connsiteY2" fmla="*/ 288355 h 4656138"/>
              <a:gd name="connsiteX3" fmla="*/ 5175251 w 5175251"/>
              <a:gd name="connsiteY3" fmla="*/ 4367783 h 4656138"/>
              <a:gd name="connsiteX4" fmla="*/ 4886896 w 5175251"/>
              <a:gd name="connsiteY4" fmla="*/ 4656138 h 4656138"/>
              <a:gd name="connsiteX5" fmla="*/ 288355 w 5175251"/>
              <a:gd name="connsiteY5" fmla="*/ 4656138 h 4656138"/>
              <a:gd name="connsiteX6" fmla="*/ 0 w 5175251"/>
              <a:gd name="connsiteY6" fmla="*/ 4367783 h 4656138"/>
              <a:gd name="connsiteX7" fmla="*/ 0 w 5175251"/>
              <a:gd name="connsiteY7" fmla="*/ 288355 h 4656138"/>
              <a:gd name="connsiteX8" fmla="*/ 288355 w 5175251"/>
              <a:gd name="connsiteY8" fmla="*/ 0 h 465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5251" h="4656138">
                <a:moveTo>
                  <a:pt x="288355" y="0"/>
                </a:moveTo>
                <a:lnTo>
                  <a:pt x="4886896" y="0"/>
                </a:lnTo>
                <a:cubicBezTo>
                  <a:pt x="5046150" y="0"/>
                  <a:pt x="5175251" y="129101"/>
                  <a:pt x="5175251" y="288355"/>
                </a:cubicBezTo>
                <a:lnTo>
                  <a:pt x="5175251" y="4367783"/>
                </a:lnTo>
                <a:cubicBezTo>
                  <a:pt x="5175251" y="4527037"/>
                  <a:pt x="5046150" y="4656138"/>
                  <a:pt x="4886896" y="4656138"/>
                </a:cubicBezTo>
                <a:lnTo>
                  <a:pt x="288355" y="4656138"/>
                </a:lnTo>
                <a:cubicBezTo>
                  <a:pt x="129101" y="4656138"/>
                  <a:pt x="0" y="4527037"/>
                  <a:pt x="0" y="4367783"/>
                </a:cubicBezTo>
                <a:lnTo>
                  <a:pt x="0" y="288355"/>
                </a:lnTo>
                <a:cubicBezTo>
                  <a:pt x="0" y="129101"/>
                  <a:pt x="129101" y="0"/>
                  <a:pt x="2883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18E69EA5-93EF-686E-3614-FB4184B483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12" name="Title 16">
            <a:extLst>
              <a:ext uri="{FF2B5EF4-FFF2-40B4-BE49-F238E27FC236}">
                <a16:creationId xmlns:a16="http://schemas.microsoft.com/office/drawing/2014/main" id="{C1888DA0-8211-5D8E-5CAB-1A79FBD5C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875CCC5-E3AC-E54C-AA9E-DEEAAA2A68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A4E40A6F-B001-6E54-4D54-575166E4B8B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BFFF857D-4072-9C77-0CB6-1933D6A44AB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50AB83D3-48F6-7E33-83F3-3DCE1977BD3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568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5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D0E7D2D-59CB-3054-F47C-488C173929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0966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BD80F1B-0358-3840-59F0-1F8F2298C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43508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BEF7167-5990-44F8-3FFF-FF53671C18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6050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91681CC-9543-05D7-D6D2-5B380436B7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48591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D9B69B64-DCBF-23E4-FB12-FD78A6443F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01133" y="3595764"/>
            <a:ext cx="1660380" cy="2630117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700">
                <a:latin typeface="+mn-lt"/>
              </a:defRPr>
            </a:lvl2pPr>
            <a:lvl3pPr>
              <a:defRPr sz="700">
                <a:latin typeface="+mn-lt"/>
              </a:defRPr>
            </a:lvl3pPr>
            <a:lvl4pPr>
              <a:defRPr sz="600">
                <a:latin typeface="+mn-lt"/>
              </a:defRPr>
            </a:lvl4pPr>
            <a:lvl5pPr>
              <a:defRPr sz="525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DD58635-246C-8ACE-D50E-1B5FED4B4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6042" y="2032941"/>
            <a:ext cx="1662763" cy="1397647"/>
          </a:xfrm>
          <a:custGeom>
            <a:avLst/>
            <a:gdLst>
              <a:gd name="connsiteX0" fmla="*/ 286888 w 3324227"/>
              <a:gd name="connsiteY0" fmla="*/ 0 h 2794001"/>
              <a:gd name="connsiteX1" fmla="*/ 3037339 w 3324227"/>
              <a:gd name="connsiteY1" fmla="*/ 0 h 2794001"/>
              <a:gd name="connsiteX2" fmla="*/ 3324227 w 3324227"/>
              <a:gd name="connsiteY2" fmla="*/ 286888 h 2794001"/>
              <a:gd name="connsiteX3" fmla="*/ 3324227 w 3324227"/>
              <a:gd name="connsiteY3" fmla="*/ 2507113 h 2794001"/>
              <a:gd name="connsiteX4" fmla="*/ 3037339 w 3324227"/>
              <a:gd name="connsiteY4" fmla="*/ 2794001 h 2794001"/>
              <a:gd name="connsiteX5" fmla="*/ 286888 w 3324227"/>
              <a:gd name="connsiteY5" fmla="*/ 2794001 h 2794001"/>
              <a:gd name="connsiteX6" fmla="*/ 0 w 3324227"/>
              <a:gd name="connsiteY6" fmla="*/ 2507113 h 2794001"/>
              <a:gd name="connsiteX7" fmla="*/ 0 w 3324227"/>
              <a:gd name="connsiteY7" fmla="*/ 286888 h 2794001"/>
              <a:gd name="connsiteX8" fmla="*/ 286888 w 3324227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7" h="2794001">
                <a:moveTo>
                  <a:pt x="286888" y="0"/>
                </a:moveTo>
                <a:lnTo>
                  <a:pt x="3037339" y="0"/>
                </a:lnTo>
                <a:cubicBezTo>
                  <a:pt x="3195783" y="0"/>
                  <a:pt x="3324227" y="128444"/>
                  <a:pt x="3324227" y="286888"/>
                </a:cubicBezTo>
                <a:lnTo>
                  <a:pt x="3324227" y="2507113"/>
                </a:lnTo>
                <a:cubicBezTo>
                  <a:pt x="3324227" y="2665557"/>
                  <a:pt x="3195783" y="2794001"/>
                  <a:pt x="3037339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A44ABFCC-36BB-2201-F6FF-595CDF0EC7F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87790" y="2032941"/>
            <a:ext cx="1662763" cy="1397647"/>
          </a:xfrm>
          <a:custGeom>
            <a:avLst/>
            <a:gdLst>
              <a:gd name="connsiteX0" fmla="*/ 286888 w 3324227"/>
              <a:gd name="connsiteY0" fmla="*/ 0 h 2794001"/>
              <a:gd name="connsiteX1" fmla="*/ 3037339 w 3324227"/>
              <a:gd name="connsiteY1" fmla="*/ 0 h 2794001"/>
              <a:gd name="connsiteX2" fmla="*/ 3324227 w 3324227"/>
              <a:gd name="connsiteY2" fmla="*/ 286888 h 2794001"/>
              <a:gd name="connsiteX3" fmla="*/ 3324227 w 3324227"/>
              <a:gd name="connsiteY3" fmla="*/ 2507113 h 2794001"/>
              <a:gd name="connsiteX4" fmla="*/ 3037339 w 3324227"/>
              <a:gd name="connsiteY4" fmla="*/ 2794001 h 2794001"/>
              <a:gd name="connsiteX5" fmla="*/ 286888 w 3324227"/>
              <a:gd name="connsiteY5" fmla="*/ 2794001 h 2794001"/>
              <a:gd name="connsiteX6" fmla="*/ 0 w 3324227"/>
              <a:gd name="connsiteY6" fmla="*/ 2507113 h 2794001"/>
              <a:gd name="connsiteX7" fmla="*/ 0 w 3324227"/>
              <a:gd name="connsiteY7" fmla="*/ 286888 h 2794001"/>
              <a:gd name="connsiteX8" fmla="*/ 286888 w 3324227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7" h="2794001">
                <a:moveTo>
                  <a:pt x="286888" y="0"/>
                </a:moveTo>
                <a:lnTo>
                  <a:pt x="3037339" y="0"/>
                </a:lnTo>
                <a:cubicBezTo>
                  <a:pt x="3195783" y="0"/>
                  <a:pt x="3324227" y="128444"/>
                  <a:pt x="3324227" y="286888"/>
                </a:cubicBezTo>
                <a:lnTo>
                  <a:pt x="3324227" y="2507113"/>
                </a:lnTo>
                <a:cubicBezTo>
                  <a:pt x="3324227" y="2665557"/>
                  <a:pt x="3195783" y="2794001"/>
                  <a:pt x="3037339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544CBC2E-4611-8FF5-5B87-BAB7364616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41126" y="2032941"/>
            <a:ext cx="1662763" cy="1397647"/>
          </a:xfrm>
          <a:custGeom>
            <a:avLst/>
            <a:gdLst>
              <a:gd name="connsiteX0" fmla="*/ 286888 w 3324227"/>
              <a:gd name="connsiteY0" fmla="*/ 0 h 2794001"/>
              <a:gd name="connsiteX1" fmla="*/ 3037339 w 3324227"/>
              <a:gd name="connsiteY1" fmla="*/ 0 h 2794001"/>
              <a:gd name="connsiteX2" fmla="*/ 3324227 w 3324227"/>
              <a:gd name="connsiteY2" fmla="*/ 286888 h 2794001"/>
              <a:gd name="connsiteX3" fmla="*/ 3324227 w 3324227"/>
              <a:gd name="connsiteY3" fmla="*/ 2507113 h 2794001"/>
              <a:gd name="connsiteX4" fmla="*/ 3037339 w 3324227"/>
              <a:gd name="connsiteY4" fmla="*/ 2794001 h 2794001"/>
              <a:gd name="connsiteX5" fmla="*/ 286888 w 3324227"/>
              <a:gd name="connsiteY5" fmla="*/ 2794001 h 2794001"/>
              <a:gd name="connsiteX6" fmla="*/ 0 w 3324227"/>
              <a:gd name="connsiteY6" fmla="*/ 2507113 h 2794001"/>
              <a:gd name="connsiteX7" fmla="*/ 0 w 3324227"/>
              <a:gd name="connsiteY7" fmla="*/ 286888 h 2794001"/>
              <a:gd name="connsiteX8" fmla="*/ 286888 w 3324227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7" h="2794001">
                <a:moveTo>
                  <a:pt x="286888" y="0"/>
                </a:moveTo>
                <a:lnTo>
                  <a:pt x="3037339" y="0"/>
                </a:lnTo>
                <a:cubicBezTo>
                  <a:pt x="3195783" y="0"/>
                  <a:pt x="3324227" y="128444"/>
                  <a:pt x="3324227" y="286888"/>
                </a:cubicBezTo>
                <a:lnTo>
                  <a:pt x="3324227" y="2507113"/>
                </a:lnTo>
                <a:cubicBezTo>
                  <a:pt x="3324227" y="2665557"/>
                  <a:pt x="3195783" y="2794001"/>
                  <a:pt x="3037339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20EB96A-1ED7-7951-ED5B-C79CF3ACCAD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92874" y="2032941"/>
            <a:ext cx="1662763" cy="1397647"/>
          </a:xfrm>
          <a:custGeom>
            <a:avLst/>
            <a:gdLst>
              <a:gd name="connsiteX0" fmla="*/ 286888 w 3324227"/>
              <a:gd name="connsiteY0" fmla="*/ 0 h 2794001"/>
              <a:gd name="connsiteX1" fmla="*/ 3037339 w 3324227"/>
              <a:gd name="connsiteY1" fmla="*/ 0 h 2794001"/>
              <a:gd name="connsiteX2" fmla="*/ 3324227 w 3324227"/>
              <a:gd name="connsiteY2" fmla="*/ 286888 h 2794001"/>
              <a:gd name="connsiteX3" fmla="*/ 3324227 w 3324227"/>
              <a:gd name="connsiteY3" fmla="*/ 2507113 h 2794001"/>
              <a:gd name="connsiteX4" fmla="*/ 3037339 w 3324227"/>
              <a:gd name="connsiteY4" fmla="*/ 2794001 h 2794001"/>
              <a:gd name="connsiteX5" fmla="*/ 286888 w 3324227"/>
              <a:gd name="connsiteY5" fmla="*/ 2794001 h 2794001"/>
              <a:gd name="connsiteX6" fmla="*/ 0 w 3324227"/>
              <a:gd name="connsiteY6" fmla="*/ 2507113 h 2794001"/>
              <a:gd name="connsiteX7" fmla="*/ 0 w 3324227"/>
              <a:gd name="connsiteY7" fmla="*/ 286888 h 2794001"/>
              <a:gd name="connsiteX8" fmla="*/ 286888 w 3324227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7" h="2794001">
                <a:moveTo>
                  <a:pt x="286888" y="0"/>
                </a:moveTo>
                <a:lnTo>
                  <a:pt x="3037339" y="0"/>
                </a:lnTo>
                <a:cubicBezTo>
                  <a:pt x="3195783" y="0"/>
                  <a:pt x="3324227" y="128444"/>
                  <a:pt x="3324227" y="286888"/>
                </a:cubicBezTo>
                <a:lnTo>
                  <a:pt x="3324227" y="2507113"/>
                </a:lnTo>
                <a:cubicBezTo>
                  <a:pt x="3324227" y="2665557"/>
                  <a:pt x="3195783" y="2794001"/>
                  <a:pt x="3037339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93323C39-6C83-6DFF-96F4-F5DB20DF53A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43830" y="2032941"/>
            <a:ext cx="1662763" cy="1397647"/>
          </a:xfrm>
          <a:custGeom>
            <a:avLst/>
            <a:gdLst>
              <a:gd name="connsiteX0" fmla="*/ 286888 w 3324227"/>
              <a:gd name="connsiteY0" fmla="*/ 0 h 2794001"/>
              <a:gd name="connsiteX1" fmla="*/ 3037339 w 3324227"/>
              <a:gd name="connsiteY1" fmla="*/ 0 h 2794001"/>
              <a:gd name="connsiteX2" fmla="*/ 3324227 w 3324227"/>
              <a:gd name="connsiteY2" fmla="*/ 286888 h 2794001"/>
              <a:gd name="connsiteX3" fmla="*/ 3324227 w 3324227"/>
              <a:gd name="connsiteY3" fmla="*/ 2507113 h 2794001"/>
              <a:gd name="connsiteX4" fmla="*/ 3037339 w 3324227"/>
              <a:gd name="connsiteY4" fmla="*/ 2794001 h 2794001"/>
              <a:gd name="connsiteX5" fmla="*/ 286888 w 3324227"/>
              <a:gd name="connsiteY5" fmla="*/ 2794001 h 2794001"/>
              <a:gd name="connsiteX6" fmla="*/ 0 w 3324227"/>
              <a:gd name="connsiteY6" fmla="*/ 2507113 h 2794001"/>
              <a:gd name="connsiteX7" fmla="*/ 0 w 3324227"/>
              <a:gd name="connsiteY7" fmla="*/ 286888 h 2794001"/>
              <a:gd name="connsiteX8" fmla="*/ 286888 w 3324227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7" h="2794001">
                <a:moveTo>
                  <a:pt x="286888" y="0"/>
                </a:moveTo>
                <a:lnTo>
                  <a:pt x="3037339" y="0"/>
                </a:lnTo>
                <a:cubicBezTo>
                  <a:pt x="3195783" y="0"/>
                  <a:pt x="3324227" y="128444"/>
                  <a:pt x="3324227" y="286888"/>
                </a:cubicBezTo>
                <a:lnTo>
                  <a:pt x="3324227" y="2507113"/>
                </a:lnTo>
                <a:cubicBezTo>
                  <a:pt x="3324227" y="2665557"/>
                  <a:pt x="3195783" y="2794001"/>
                  <a:pt x="3037339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50DDE016-9B89-F198-846B-AE77B3104D2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895579" y="2032941"/>
            <a:ext cx="1662762" cy="1397647"/>
          </a:xfrm>
          <a:custGeom>
            <a:avLst/>
            <a:gdLst>
              <a:gd name="connsiteX0" fmla="*/ 286888 w 3324226"/>
              <a:gd name="connsiteY0" fmla="*/ 0 h 2794001"/>
              <a:gd name="connsiteX1" fmla="*/ 3037338 w 3324226"/>
              <a:gd name="connsiteY1" fmla="*/ 0 h 2794001"/>
              <a:gd name="connsiteX2" fmla="*/ 3324226 w 3324226"/>
              <a:gd name="connsiteY2" fmla="*/ 286888 h 2794001"/>
              <a:gd name="connsiteX3" fmla="*/ 3324226 w 3324226"/>
              <a:gd name="connsiteY3" fmla="*/ 2507113 h 2794001"/>
              <a:gd name="connsiteX4" fmla="*/ 3037338 w 3324226"/>
              <a:gd name="connsiteY4" fmla="*/ 2794001 h 2794001"/>
              <a:gd name="connsiteX5" fmla="*/ 286888 w 3324226"/>
              <a:gd name="connsiteY5" fmla="*/ 2794001 h 2794001"/>
              <a:gd name="connsiteX6" fmla="*/ 0 w 3324226"/>
              <a:gd name="connsiteY6" fmla="*/ 2507113 h 2794001"/>
              <a:gd name="connsiteX7" fmla="*/ 0 w 3324226"/>
              <a:gd name="connsiteY7" fmla="*/ 286888 h 2794001"/>
              <a:gd name="connsiteX8" fmla="*/ 286888 w 3324226"/>
              <a:gd name="connsiteY8" fmla="*/ 0 h 279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4226" h="2794001">
                <a:moveTo>
                  <a:pt x="286888" y="0"/>
                </a:moveTo>
                <a:lnTo>
                  <a:pt x="3037338" y="0"/>
                </a:lnTo>
                <a:cubicBezTo>
                  <a:pt x="3195782" y="0"/>
                  <a:pt x="3324226" y="128444"/>
                  <a:pt x="3324226" y="286888"/>
                </a:cubicBezTo>
                <a:lnTo>
                  <a:pt x="3324226" y="2507113"/>
                </a:lnTo>
                <a:cubicBezTo>
                  <a:pt x="3324226" y="2665557"/>
                  <a:pt x="3195782" y="2794001"/>
                  <a:pt x="3037338" y="2794001"/>
                </a:cubicBezTo>
                <a:lnTo>
                  <a:pt x="286888" y="2794001"/>
                </a:lnTo>
                <a:cubicBezTo>
                  <a:pt x="128444" y="2794001"/>
                  <a:pt x="0" y="2665557"/>
                  <a:pt x="0" y="2507113"/>
                </a:cubicBezTo>
                <a:lnTo>
                  <a:pt x="0" y="286888"/>
                </a:lnTo>
                <a:cubicBezTo>
                  <a:pt x="0" y="128444"/>
                  <a:pt x="128444" y="0"/>
                  <a:pt x="2868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49FE21B9-E420-69C0-43C7-3C428636B7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92E7B7AA-B8C7-6FBB-2D2B-329E06698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D4355F-4CDD-23FA-C399-99E6332FD8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B3F70A-B54A-5139-A195-337F1C46167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0639C98-20B9-3B1D-14B5-D69EC4A277C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A387DF7-5BCF-BB69-C434-86E3B9D1804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61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four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4890D32-A2CA-97ED-8391-8D76235B6C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7370" y="2032941"/>
            <a:ext cx="2586254" cy="4192940"/>
          </a:xfrm>
          <a:prstGeom prst="roundRect">
            <a:avLst>
              <a:gd name="adj" fmla="val 5243"/>
            </a:avLst>
          </a:prstGeom>
          <a:solidFill>
            <a:schemeClr val="accent1"/>
          </a:solidFill>
        </p:spPr>
        <p:txBody>
          <a:bodyPr lIns="216000" tIns="216000" rIns="216000" bIns="216000"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2032941"/>
            <a:ext cx="2586254" cy="4192940"/>
          </a:xfrm>
          <a:prstGeom prst="roundRect">
            <a:avLst>
              <a:gd name="adj" fmla="val 5243"/>
            </a:avLst>
          </a:prstGeom>
          <a:solidFill>
            <a:schemeClr val="accent1"/>
          </a:solidFill>
        </p:spPr>
        <p:txBody>
          <a:bodyPr lIns="216000" tIns="216000" rIns="216000" bIns="216000"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E8CB793-FA97-EB89-E973-4EB2EA57C2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6316" y="2032941"/>
            <a:ext cx="2586254" cy="4192940"/>
          </a:xfrm>
          <a:prstGeom prst="roundRect">
            <a:avLst>
              <a:gd name="adj" fmla="val 5243"/>
            </a:avLst>
          </a:prstGeom>
          <a:solidFill>
            <a:schemeClr val="accent1"/>
          </a:solidFill>
        </p:spPr>
        <p:txBody>
          <a:bodyPr lIns="216000" tIns="216000" rIns="216000" bIns="216000"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45C3988-518A-23D9-22BE-2B7D2590D4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75261" y="2032941"/>
            <a:ext cx="2586254" cy="4192940"/>
          </a:xfrm>
          <a:prstGeom prst="roundRect">
            <a:avLst>
              <a:gd name="adj" fmla="val 5243"/>
            </a:avLst>
          </a:prstGeom>
          <a:solidFill>
            <a:schemeClr val="accent1"/>
          </a:solidFill>
        </p:spPr>
        <p:txBody>
          <a:bodyPr lIns="216000" tIns="216000" rIns="216000" bIns="216000"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F67F8DED-B9B4-113B-036C-801CE7CD77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B99FF57E-01A3-16F3-368D-618749A6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E2EC56-39F7-7A6F-5144-67CCB0F9C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3ED748-7B97-C6A7-67A4-149E7A9B4E7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AB8DBE8-6E8B-2899-C47E-7C43366281A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9E0A5C9-5DF1-1035-6A34-8E19153FE6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2752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four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AE680F-EBAE-16A3-3721-26A894046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24" y="3812732"/>
            <a:ext cx="2586254" cy="932294"/>
          </a:xfrm>
          <a:prstGeom prst="roundRect">
            <a:avLst>
              <a:gd name="adj" fmla="val 6606"/>
            </a:avLst>
          </a:prstGeom>
          <a:solidFill>
            <a:schemeClr val="accent2"/>
          </a:solidFill>
        </p:spPr>
        <p:txBody>
          <a:bodyPr lIns="360000" tIns="360000" rIns="360000" bIns="36000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4890D32-A2CA-97ED-8391-8D76235B6C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7370" y="3346587"/>
            <a:ext cx="2586254" cy="1398440"/>
          </a:xfrm>
          <a:prstGeom prst="roundRect">
            <a:avLst>
              <a:gd name="adj" fmla="val 4789"/>
            </a:avLst>
          </a:prstGeom>
          <a:solidFill>
            <a:schemeClr val="accent2"/>
          </a:solidFill>
        </p:spPr>
        <p:txBody>
          <a:bodyPr lIns="360000" tIns="360000" rIns="360000" bIns="36000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E8CB793-FA97-EB89-E973-4EB2EA57C2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6316" y="2881233"/>
            <a:ext cx="2586254" cy="1863793"/>
          </a:xfrm>
          <a:prstGeom prst="roundRect">
            <a:avLst>
              <a:gd name="adj" fmla="val 3402"/>
            </a:avLst>
          </a:prstGeom>
          <a:solidFill>
            <a:schemeClr val="accent2"/>
          </a:solidFill>
        </p:spPr>
        <p:txBody>
          <a:bodyPr lIns="360000" tIns="360000" rIns="360000" bIns="36000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45C3988-518A-23D9-22BE-2B7D2590D4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75261" y="2415086"/>
            <a:ext cx="2586254" cy="2329940"/>
          </a:xfrm>
          <a:prstGeom prst="roundRect">
            <a:avLst>
              <a:gd name="adj" fmla="val 2953"/>
            </a:avLst>
          </a:prstGeom>
          <a:solidFill>
            <a:schemeClr val="accent2"/>
          </a:solidFill>
        </p:spPr>
        <p:txBody>
          <a:bodyPr lIns="360000" tIns="360000" rIns="360000" bIns="36000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682A597-4DB6-F45A-A31B-54E35B3536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24" y="4900019"/>
            <a:ext cx="2586254" cy="777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79ABADA-DB3D-BFE8-4AEE-E7502E094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16840" y="4900019"/>
            <a:ext cx="2586254" cy="777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5726166-DD5D-E58B-C9F8-2D652BD315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2875" y="4900019"/>
            <a:ext cx="2586254" cy="777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1FB5E78-32F8-D884-AA7F-F54D242E40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75261" y="4900019"/>
            <a:ext cx="2586254" cy="777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F7F56006-E142-8794-A2E2-BA0AB8F9BE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BE67823E-54AA-1DB6-E2B7-91F006F47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3D691D3-1509-B3BA-2FBA-A4D9AFAEA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D572DA-927B-8BC2-DFFE-F44AD71671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653AB1E-CF59-0008-7AA2-C7C1681251E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20A4FDA-EA78-6812-9039-91CF840E7CC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935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 on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0EF1796-C257-3203-0835-B77620C66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87791" y="6866613"/>
            <a:ext cx="1662762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DAAF140-EE41-D9F0-DA3E-9DA603549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043" y="6866613"/>
            <a:ext cx="457377" cy="52646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7D81137-E44E-4038-B287-767483FD80B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3" name="Picture 87" descr="Logo&#10;&#10;Description automatically generated">
            <a:extLst>
              <a:ext uri="{FF2B5EF4-FFF2-40B4-BE49-F238E27FC236}">
                <a16:creationId xmlns:a16="http://schemas.microsoft.com/office/drawing/2014/main" id="{32968CD3-0DCB-48B9-135D-071E64832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5189" y="216794"/>
            <a:ext cx="1940678" cy="683746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B00299B0-3960-C3E3-92A4-0C41E1ED50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1916" y="2508442"/>
            <a:ext cx="9072931" cy="1258551"/>
          </a:xfrm>
        </p:spPr>
        <p:txBody>
          <a:bodyPr anchor="b"/>
          <a:lstStyle>
            <a:lvl1pPr algn="ctr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845F5B07-33C8-0163-D720-D6AE3A5CA0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596" y="3877523"/>
            <a:ext cx="9147572" cy="43183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01" b="0">
                <a:solidFill>
                  <a:schemeClr val="tx1"/>
                </a:solidFill>
              </a:defRPr>
            </a:lvl1pPr>
            <a:lvl2pPr marL="228691" indent="0" algn="ctr">
              <a:buNone/>
              <a:defRPr sz="1000"/>
            </a:lvl2pPr>
            <a:lvl3pPr marL="457383" indent="0" algn="ctr">
              <a:buNone/>
              <a:defRPr sz="900"/>
            </a:lvl3pPr>
            <a:lvl4pPr marL="686074" indent="0" algn="ctr">
              <a:buNone/>
              <a:defRPr sz="800"/>
            </a:lvl4pPr>
            <a:lvl5pPr marL="914766" indent="0" algn="ctr">
              <a:buNone/>
              <a:defRPr sz="800"/>
            </a:lvl5pPr>
            <a:lvl6pPr marL="1143457" indent="0" algn="ctr">
              <a:buNone/>
              <a:defRPr sz="800"/>
            </a:lvl6pPr>
            <a:lvl7pPr marL="1372149" indent="0" algn="ctr">
              <a:buNone/>
              <a:defRPr sz="800"/>
            </a:lvl7pPr>
            <a:lvl8pPr marL="1600840" indent="0" algn="ctr">
              <a:buNone/>
              <a:defRPr sz="800"/>
            </a:lvl8pPr>
            <a:lvl9pPr marL="1829532" indent="0" algn="ctr">
              <a:buNone/>
              <a:defRPr sz="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62A638D-9A55-BC85-5AA1-6995A6F7BB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4181" y="4375497"/>
            <a:ext cx="3708400" cy="914400"/>
          </a:xfrm>
        </p:spPr>
        <p:txBody>
          <a:bodyPr/>
          <a:lstStyle>
            <a:lvl1pPr algn="ctr">
              <a:defRPr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 in format YYYY.MM.DD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D0FE34-5D0E-5E75-2F21-19B6007963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8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ored objec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9DCEB9E-5CB9-38CA-F8B6-6A2F065AD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61917" y="3430588"/>
            <a:ext cx="1662762" cy="465353"/>
          </a:xfrm>
          <a:prstGeom prst="roundRect">
            <a:avLst>
              <a:gd name="adj" fmla="val 15984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1132FB6-3D2D-F91E-AB35-A85B732F2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67001" y="3430588"/>
            <a:ext cx="1662762" cy="465353"/>
          </a:xfrm>
          <a:prstGeom prst="roundRect">
            <a:avLst>
              <a:gd name="adj" fmla="val 15984"/>
            </a:avLst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8E1BDE-3D04-975E-4B3B-53D57E990B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8749" y="3430588"/>
            <a:ext cx="1662762" cy="465353"/>
          </a:xfrm>
          <a:prstGeom prst="roundRect">
            <a:avLst>
              <a:gd name="adj" fmla="val 15984"/>
            </a:avLst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E0586DA-4D29-794B-2705-94091D3613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2085" y="3430588"/>
            <a:ext cx="1662762" cy="465353"/>
          </a:xfrm>
          <a:prstGeom prst="roundRect">
            <a:avLst>
              <a:gd name="adj" fmla="val 15984"/>
            </a:avLst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2FF5936-1274-D860-3C78-6378C0ED5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14459" y="3430588"/>
            <a:ext cx="1662762" cy="465353"/>
          </a:xfrm>
          <a:prstGeom prst="roundRect">
            <a:avLst>
              <a:gd name="adj" fmla="val 15984"/>
            </a:avLst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4435197-BFE9-C372-1D29-33AAB2F90B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14458" y="4049877"/>
            <a:ext cx="1661968" cy="46384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9BA54EC-D907-FD7D-98D2-6B99452F8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62710" y="2880794"/>
            <a:ext cx="1661968" cy="46384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82EF9454-44CE-EEB0-3280-642BECB8FD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18749" y="4049877"/>
            <a:ext cx="1661968" cy="46384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A3F85B3E-F2D3-C823-2336-2B6A947039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7795" y="2880794"/>
            <a:ext cx="1661968" cy="46384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471D58C-C468-9E06-929E-A6C5498DCE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1291" y="2880794"/>
            <a:ext cx="1661968" cy="46384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953ABB4-1051-F49E-71C8-263B09BBFE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565093" y="4481453"/>
            <a:ext cx="1661968" cy="1743634"/>
          </a:xfrm>
          <a:prstGeom prst="callout1">
            <a:avLst>
              <a:gd name="adj1" fmla="val -46028"/>
              <a:gd name="adj2" fmla="val 49765"/>
              <a:gd name="adj3" fmla="val -6239"/>
              <a:gd name="adj4" fmla="val 50022"/>
            </a:avLst>
          </a:prstGeom>
          <a:ln w="9525" cap="flat">
            <a:solidFill>
              <a:schemeClr val="accent6"/>
            </a:solidFill>
            <a:headEnd type="oval"/>
            <a:tailEnd type="oval"/>
          </a:ln>
        </p:spPr>
        <p:txBody>
          <a:bodyPr wrap="square" tIns="0" anchor="t">
            <a:noAutofit/>
          </a:bodyPr>
          <a:lstStyle>
            <a:lvl1pPr marL="0" indent="0" algn="ctr"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90DEFE33-8D78-6FB2-5202-0BA3116E199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665" y="2032940"/>
            <a:ext cx="1661968" cy="895765"/>
          </a:xfrm>
          <a:prstGeom prst="callout1">
            <a:avLst>
              <a:gd name="adj1" fmla="val 102895"/>
              <a:gd name="adj2" fmla="val 50100"/>
              <a:gd name="adj3" fmla="val 179939"/>
              <a:gd name="adj4" fmla="val 49923"/>
            </a:avLst>
          </a:prstGeom>
          <a:ln w="9525">
            <a:solidFill>
              <a:schemeClr val="accent6"/>
            </a:solidFill>
            <a:headEnd type="oval"/>
            <a:tailEnd type="oval"/>
          </a:ln>
        </p:spPr>
        <p:txBody>
          <a:bodyPr wrap="square" tIns="0" bIns="0" anchor="b">
            <a:noAutofit/>
          </a:bodyPr>
          <a:lstStyle>
            <a:lvl1pPr marL="0" indent="0" algn="ctr"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77191DB9-05EF-4E4F-87C3-4C54BC5C3AA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267795" y="4481453"/>
            <a:ext cx="1661968" cy="1743634"/>
          </a:xfrm>
          <a:prstGeom prst="callout1">
            <a:avLst>
              <a:gd name="adj1" fmla="val -46028"/>
              <a:gd name="adj2" fmla="val 49765"/>
              <a:gd name="adj3" fmla="val -6239"/>
              <a:gd name="adj4" fmla="val 50022"/>
            </a:avLst>
          </a:prstGeom>
          <a:ln w="9525">
            <a:solidFill>
              <a:schemeClr val="accent6"/>
            </a:solidFill>
            <a:headEnd type="oval"/>
            <a:tailEnd type="oval"/>
          </a:ln>
        </p:spPr>
        <p:txBody>
          <a:bodyPr wrap="square" tIns="0" anchor="t">
            <a:noAutofit/>
          </a:bodyPr>
          <a:lstStyle>
            <a:lvl1pPr marL="0" indent="0" algn="ctr"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7505C6C4-62D2-E842-51C8-FA945360EEF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972879" y="4481453"/>
            <a:ext cx="1661968" cy="1743634"/>
          </a:xfrm>
          <a:prstGeom prst="callout1">
            <a:avLst>
              <a:gd name="adj1" fmla="val -46028"/>
              <a:gd name="adj2" fmla="val 49765"/>
              <a:gd name="adj3" fmla="val -6239"/>
              <a:gd name="adj4" fmla="val 50022"/>
            </a:avLst>
          </a:prstGeom>
          <a:ln w="9525">
            <a:solidFill>
              <a:schemeClr val="accent6"/>
            </a:solidFill>
            <a:headEnd type="oval"/>
            <a:tailEnd type="oval"/>
          </a:ln>
        </p:spPr>
        <p:txBody>
          <a:bodyPr wrap="square" tIns="0" anchor="t">
            <a:noAutofit/>
          </a:bodyPr>
          <a:lstStyle>
            <a:lvl1pPr marL="0" indent="0" algn="ctr"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54F058E-231D-F1EF-5D55-64061C3F931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18749" y="2032940"/>
            <a:ext cx="1661968" cy="895765"/>
          </a:xfrm>
          <a:prstGeom prst="callout1">
            <a:avLst>
              <a:gd name="adj1" fmla="val 102363"/>
              <a:gd name="adj2" fmla="val 51104"/>
              <a:gd name="adj3" fmla="val 180737"/>
              <a:gd name="adj4" fmla="val 51070"/>
            </a:avLst>
          </a:prstGeom>
          <a:ln w="9525">
            <a:solidFill>
              <a:srgbClr val="8F8F8E"/>
            </a:solidFill>
            <a:headEnd type="oval"/>
            <a:tailEnd type="oval"/>
          </a:ln>
        </p:spPr>
        <p:txBody>
          <a:bodyPr wrap="square" tIns="0" bIns="0" anchor="b">
            <a:noAutofit/>
          </a:bodyPr>
          <a:lstStyle>
            <a:lvl1pPr marL="0" indent="0" algn="ctr"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DF8D86AC-6F92-C9AE-C6E4-E0EF8DF093B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6" name="Title 16">
            <a:extLst>
              <a:ext uri="{FF2B5EF4-FFF2-40B4-BE49-F238E27FC236}">
                <a16:creationId xmlns:a16="http://schemas.microsoft.com/office/drawing/2014/main" id="{BA982A7E-D2ED-F76C-90A0-90C94A896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22D60A2-CBED-581D-4D86-D2B1AEEAD29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CFBB55-5A54-1451-3D9E-AF46F7B14DE2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2EDD92E4-211A-CC46-8DFE-DC5F08D33E80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C76510BB-FCD2-8DC2-9E6B-3965658972C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0068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ircl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B753680-FBA9-9C39-7F21-F1CA33F2CD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4173" y="2782588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54C6FB2-F8FB-33D9-EE14-9EBED9BDD7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55260" y="2341675"/>
            <a:ext cx="2667419" cy="2667611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4202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784BF57-B207-5676-8931-D927B218D2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08577" y="2782588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6C97BD7-42B5-C28D-67E6-67D4BF6DFC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73158" y="2926231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971985-2581-B5D6-EAD8-3D40FC05E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66141" y="2926231"/>
            <a:ext cx="1498391" cy="1498499"/>
          </a:xfrm>
          <a:custGeom>
            <a:avLst/>
            <a:gdLst>
              <a:gd name="connsiteX0" fmla="*/ 1497808 w 2995612"/>
              <a:gd name="connsiteY0" fmla="*/ 0 h 2995612"/>
              <a:gd name="connsiteX1" fmla="*/ 2995612 w 2995612"/>
              <a:gd name="connsiteY1" fmla="*/ 1497806 h 2995612"/>
              <a:gd name="connsiteX2" fmla="*/ 1497808 w 2995612"/>
              <a:gd name="connsiteY2" fmla="*/ 2995612 h 2995612"/>
              <a:gd name="connsiteX3" fmla="*/ 0 w 2995612"/>
              <a:gd name="connsiteY3" fmla="*/ 1497806 h 2995612"/>
              <a:gd name="connsiteX4" fmla="*/ 1497808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8" y="0"/>
                </a:moveTo>
                <a:cubicBezTo>
                  <a:pt x="2325022" y="0"/>
                  <a:pt x="2995612" y="670591"/>
                  <a:pt x="2995612" y="1497806"/>
                </a:cubicBezTo>
                <a:cubicBezTo>
                  <a:pt x="2995612" y="2325021"/>
                  <a:pt x="2325022" y="2995612"/>
                  <a:pt x="1497808" y="2995612"/>
                </a:cubicBezTo>
                <a:cubicBezTo>
                  <a:pt x="670592" y="2995612"/>
                  <a:pt x="0" y="2325021"/>
                  <a:pt x="0" y="1497806"/>
                </a:cubicBezTo>
                <a:cubicBezTo>
                  <a:pt x="0" y="670591"/>
                  <a:pt x="670592" y="0"/>
                  <a:pt x="14978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0CDA58A8-35F7-CDB6-D1E7-F487CC4E96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6" name="Title 16">
            <a:extLst>
              <a:ext uri="{FF2B5EF4-FFF2-40B4-BE49-F238E27FC236}">
                <a16:creationId xmlns:a16="http://schemas.microsoft.com/office/drawing/2014/main" id="{7DB79639-1E05-36C2-C25D-59A053170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5104063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553F5E0-9CDE-C24C-3FC4-9288D4D52A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64F372-3B91-A558-9FC4-884C179906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4CED77-D8C2-679C-D421-B526F7CD58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94ABC7-15BD-0429-CEC2-58E720AC9C7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1230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content and three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54C6FB2-F8FB-33D9-EE14-9EBED9BDD7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4432" y="2341675"/>
            <a:ext cx="2667419" cy="2667611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4202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784BF57-B207-5676-8931-D927B218D2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7749" y="2782588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6C97BD7-42B5-C28D-67E6-67D4BF6DFC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62330" y="2926231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62439C97-D3A4-7ED6-84ED-5E2B368A0C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7" name="Title 16">
            <a:extLst>
              <a:ext uri="{FF2B5EF4-FFF2-40B4-BE49-F238E27FC236}">
                <a16:creationId xmlns:a16="http://schemas.microsoft.com/office/drawing/2014/main" id="{F5A18727-5797-0F3A-C1F0-C155344B8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08390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F90871A-3512-1FAB-FFBC-AC9F2074C5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248" y="1602927"/>
            <a:ext cx="4608391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78BD224-AEFD-0456-0774-49C420886C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24" y="2032941"/>
            <a:ext cx="4605215" cy="419294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7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643FF3-E931-6794-089B-226B48DBE3C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EB88DFA-94DE-0B11-2D4C-72DEA5F265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39545E6-6F26-40A3-1504-F9017237D20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1179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B753680-FBA9-9C39-7F21-F1CA33F2CD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344" y="4104204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54C6FB2-F8FB-33D9-EE14-9EBED9BDD7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0362" y="2029473"/>
            <a:ext cx="2667419" cy="2667611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4202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784BF57-B207-5676-8931-D927B218D2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54" y="3707143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6C97BD7-42B5-C28D-67E6-67D4BF6DFC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5932" y="2031277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971985-2581-B5D6-EAD8-3D40FC05E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6882" y="814351"/>
            <a:ext cx="1498391" cy="1498499"/>
          </a:xfrm>
          <a:custGeom>
            <a:avLst/>
            <a:gdLst>
              <a:gd name="connsiteX0" fmla="*/ 1497808 w 2995612"/>
              <a:gd name="connsiteY0" fmla="*/ 0 h 2995612"/>
              <a:gd name="connsiteX1" fmla="*/ 2995612 w 2995612"/>
              <a:gd name="connsiteY1" fmla="*/ 1497806 h 2995612"/>
              <a:gd name="connsiteX2" fmla="*/ 1497808 w 2995612"/>
              <a:gd name="connsiteY2" fmla="*/ 2995612 h 2995612"/>
              <a:gd name="connsiteX3" fmla="*/ 0 w 2995612"/>
              <a:gd name="connsiteY3" fmla="*/ 1497806 h 2995612"/>
              <a:gd name="connsiteX4" fmla="*/ 1497808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8" y="0"/>
                </a:moveTo>
                <a:cubicBezTo>
                  <a:pt x="2325022" y="0"/>
                  <a:pt x="2995612" y="670591"/>
                  <a:pt x="2995612" y="1497806"/>
                </a:cubicBezTo>
                <a:cubicBezTo>
                  <a:pt x="2995612" y="2325021"/>
                  <a:pt x="2325022" y="2995612"/>
                  <a:pt x="1497808" y="2995612"/>
                </a:cubicBezTo>
                <a:cubicBezTo>
                  <a:pt x="670592" y="2995612"/>
                  <a:pt x="0" y="2325021"/>
                  <a:pt x="0" y="1497806"/>
                </a:cubicBezTo>
                <a:cubicBezTo>
                  <a:pt x="0" y="670591"/>
                  <a:pt x="670592" y="0"/>
                  <a:pt x="14978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81B24BA9-9144-A61F-19DC-E5B56ADD9F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49015" y="1653914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4EBAD40F-E9B5-422B-2791-6E6B40007B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42364" y="2541737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A0DBD0E3-37E3-D24D-AD58-083FC03689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33713" y="4734305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8202681A-E6F1-DA89-D284-A71F96D28B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38035" y="4690469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5F3DD168-B85E-92F8-EEA4-67A7B42F8E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2854" y="2220838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BC7B00A-7310-91AC-C4FC-2ABC89335C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56240" y="3497002"/>
            <a:ext cx="2667419" cy="2667611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4202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5" name="!!footnote">
            <a:extLst>
              <a:ext uri="{FF2B5EF4-FFF2-40B4-BE49-F238E27FC236}">
                <a16:creationId xmlns:a16="http://schemas.microsoft.com/office/drawing/2014/main" id="{98F46C02-D05D-8A94-7E62-0EFD9401B7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2" name="Title 16">
            <a:extLst>
              <a:ext uri="{FF2B5EF4-FFF2-40B4-BE49-F238E27FC236}">
                <a16:creationId xmlns:a16="http://schemas.microsoft.com/office/drawing/2014/main" id="{65365824-6AC9-938F-37BC-716C37B6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99890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41CE488-FCA7-BD37-190C-61795F3566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A926B5D-2649-6D09-9EB2-8709C4AF731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52B1E18-5A4C-CEE9-2729-21FF1CBE583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3F44746-51ED-042E-047D-DAA3C43FACF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7786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content and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784BF57-B207-5676-8931-D927B218D2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5489" y="3430587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6C97BD7-42B5-C28D-67E6-67D4BF6DFC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62167" y="1754721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D971985-2581-B5D6-EAD8-3D40FC05E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03117" y="537795"/>
            <a:ext cx="1498391" cy="1498499"/>
          </a:xfrm>
          <a:custGeom>
            <a:avLst/>
            <a:gdLst>
              <a:gd name="connsiteX0" fmla="*/ 1497808 w 2995612"/>
              <a:gd name="connsiteY0" fmla="*/ 0 h 2995612"/>
              <a:gd name="connsiteX1" fmla="*/ 2995612 w 2995612"/>
              <a:gd name="connsiteY1" fmla="*/ 1497806 h 2995612"/>
              <a:gd name="connsiteX2" fmla="*/ 1497808 w 2995612"/>
              <a:gd name="connsiteY2" fmla="*/ 2995612 h 2995612"/>
              <a:gd name="connsiteX3" fmla="*/ 0 w 2995612"/>
              <a:gd name="connsiteY3" fmla="*/ 1497806 h 2995612"/>
              <a:gd name="connsiteX4" fmla="*/ 1497808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8" y="0"/>
                </a:moveTo>
                <a:cubicBezTo>
                  <a:pt x="2325022" y="0"/>
                  <a:pt x="2995612" y="670591"/>
                  <a:pt x="2995612" y="1497806"/>
                </a:cubicBezTo>
                <a:cubicBezTo>
                  <a:pt x="2995612" y="2325021"/>
                  <a:pt x="2325022" y="2995612"/>
                  <a:pt x="1497808" y="2995612"/>
                </a:cubicBezTo>
                <a:cubicBezTo>
                  <a:pt x="670592" y="2995612"/>
                  <a:pt x="0" y="2325021"/>
                  <a:pt x="0" y="1497806"/>
                </a:cubicBezTo>
                <a:cubicBezTo>
                  <a:pt x="0" y="670591"/>
                  <a:pt x="670592" y="0"/>
                  <a:pt x="14978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81B24BA9-9144-A61F-19DC-E5B56ADD9F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40716" y="1193603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4EBAD40F-E9B5-422B-2791-6E6B40007B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68599" y="2265181"/>
            <a:ext cx="1785656" cy="1785785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A0DBD0E3-37E3-D24D-AD58-083FC03689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59948" y="4457749"/>
            <a:ext cx="1498391" cy="1498499"/>
          </a:xfrm>
          <a:custGeom>
            <a:avLst/>
            <a:gdLst>
              <a:gd name="connsiteX0" fmla="*/ 1497806 w 2995612"/>
              <a:gd name="connsiteY0" fmla="*/ 0 h 2995612"/>
              <a:gd name="connsiteX1" fmla="*/ 2995612 w 2995612"/>
              <a:gd name="connsiteY1" fmla="*/ 1497806 h 2995612"/>
              <a:gd name="connsiteX2" fmla="*/ 1497806 w 2995612"/>
              <a:gd name="connsiteY2" fmla="*/ 2995612 h 2995612"/>
              <a:gd name="connsiteX3" fmla="*/ 0 w 2995612"/>
              <a:gd name="connsiteY3" fmla="*/ 1497806 h 2995612"/>
              <a:gd name="connsiteX4" fmla="*/ 1497806 w 2995612"/>
              <a:gd name="connsiteY4" fmla="*/ 0 h 299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5612" h="2995612">
                <a:moveTo>
                  <a:pt x="1497806" y="0"/>
                </a:moveTo>
                <a:cubicBezTo>
                  <a:pt x="2325020" y="0"/>
                  <a:pt x="2995612" y="670591"/>
                  <a:pt x="2995612" y="1497806"/>
                </a:cubicBezTo>
                <a:cubicBezTo>
                  <a:pt x="2995612" y="2325021"/>
                  <a:pt x="2325020" y="2995612"/>
                  <a:pt x="1497806" y="2995612"/>
                </a:cubicBezTo>
                <a:cubicBezTo>
                  <a:pt x="670591" y="2995612"/>
                  <a:pt x="0" y="2325021"/>
                  <a:pt x="0" y="1497806"/>
                </a:cubicBezTo>
                <a:cubicBezTo>
                  <a:pt x="0" y="670591"/>
                  <a:pt x="670591" y="0"/>
                  <a:pt x="1497806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19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BC7B00A-7310-91AC-C4FC-2ABC89335C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2475" y="3220446"/>
            <a:ext cx="2667419" cy="2667611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180000" tIns="180000" rIns="180000" bIns="180000" anchor="ctr">
            <a:noAutofit/>
          </a:bodyPr>
          <a:lstStyle>
            <a:lvl1pPr marL="0" indent="0" algn="ctr">
              <a:buNone/>
              <a:defRPr sz="4202" b="1" i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3" name="!!footnote">
            <a:extLst>
              <a:ext uri="{FF2B5EF4-FFF2-40B4-BE49-F238E27FC236}">
                <a16:creationId xmlns:a16="http://schemas.microsoft.com/office/drawing/2014/main" id="{9D0B83E7-397F-73A3-A585-E72814B5C6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2" name="Title 16">
            <a:extLst>
              <a:ext uri="{FF2B5EF4-FFF2-40B4-BE49-F238E27FC236}">
                <a16:creationId xmlns:a16="http://schemas.microsoft.com/office/drawing/2014/main" id="{F125B455-287F-82B2-9EA3-8B08855D0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4726125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8CCE82B-F9F5-421E-F085-42A02C3AB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5249" y="1602927"/>
            <a:ext cx="4726126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858564B-A572-15E9-F6FE-F695599299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24" y="2032941"/>
            <a:ext cx="4722951" cy="419294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7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509AC-C6E1-9DAB-372D-35A231817C9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5C9470-CEE0-8135-9416-35A354E9F8A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C342714-C5C7-E90B-EFEA-D9A6202EBF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71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text and ven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2568D8-25DE-40C3-00C4-A904C6CB01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19" y="1076458"/>
            <a:ext cx="3092068" cy="3092292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rgbClr val="71B9E2">
              <a:alpha val="50000"/>
            </a:srgbClr>
          </a:solidFill>
        </p:spPr>
        <p:txBody>
          <a:bodyPr wrap="non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F983AE-1BA3-5A9C-84F3-9D1BCCA179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5743" y="2608424"/>
            <a:ext cx="3092068" cy="3092292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rgbClr val="71B9E2">
              <a:alpha val="50000"/>
            </a:srgbClr>
          </a:solidFill>
        </p:spPr>
        <p:txBody>
          <a:bodyPr wrap="non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C77145-F58C-220B-67C4-EA7D60ED30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4135" y="2608424"/>
            <a:ext cx="3092068" cy="3092292"/>
          </a:xfrm>
          <a:custGeom>
            <a:avLst/>
            <a:gdLst>
              <a:gd name="connsiteX0" fmla="*/ 2666377 w 5332754"/>
              <a:gd name="connsiteY0" fmla="*/ 0 h 5332754"/>
              <a:gd name="connsiteX1" fmla="*/ 5332754 w 5332754"/>
              <a:gd name="connsiteY1" fmla="*/ 2666377 h 5332754"/>
              <a:gd name="connsiteX2" fmla="*/ 2666377 w 5332754"/>
              <a:gd name="connsiteY2" fmla="*/ 5332754 h 5332754"/>
              <a:gd name="connsiteX3" fmla="*/ 0 w 5332754"/>
              <a:gd name="connsiteY3" fmla="*/ 2666377 h 5332754"/>
              <a:gd name="connsiteX4" fmla="*/ 2666377 w 5332754"/>
              <a:gd name="connsiteY4" fmla="*/ 0 h 533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2754" h="5332754">
                <a:moveTo>
                  <a:pt x="2666377" y="0"/>
                </a:moveTo>
                <a:cubicBezTo>
                  <a:pt x="4138976" y="0"/>
                  <a:pt x="5332754" y="1193778"/>
                  <a:pt x="5332754" y="2666377"/>
                </a:cubicBezTo>
                <a:cubicBezTo>
                  <a:pt x="5332754" y="4138976"/>
                  <a:pt x="4138976" y="5332754"/>
                  <a:pt x="2666377" y="5332754"/>
                </a:cubicBezTo>
                <a:cubicBezTo>
                  <a:pt x="1193778" y="5332754"/>
                  <a:pt x="0" y="4138976"/>
                  <a:pt x="0" y="2666377"/>
                </a:cubicBezTo>
                <a:cubicBezTo>
                  <a:pt x="0" y="1193778"/>
                  <a:pt x="1193778" y="0"/>
                  <a:pt x="2666377" y="0"/>
                </a:cubicBezTo>
                <a:close/>
              </a:path>
            </a:pathLst>
          </a:custGeom>
          <a:solidFill>
            <a:srgbClr val="71B9E2">
              <a:alpha val="50000"/>
            </a:srgbClr>
          </a:solidFill>
        </p:spPr>
        <p:txBody>
          <a:bodyPr wrap="none" lIns="180000" tIns="180000" rIns="180000" bIns="180000" anchor="ctr">
            <a:noAutofit/>
          </a:bodyPr>
          <a:lstStyle>
            <a:lvl1pPr marL="0" indent="0" algn="ctr">
              <a:buNone/>
              <a:defRPr sz="2401" b="1" i="0">
                <a:solidFill>
                  <a:schemeClr val="accent2"/>
                </a:solidFill>
                <a:latin typeface="+mj-lt"/>
              </a:defRPr>
            </a:lvl1pPr>
            <a:lvl2pPr marL="0" indent="0" algn="ctr"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  <a:endParaRPr lang="en-US" dirty="0"/>
          </a:p>
        </p:txBody>
      </p:sp>
      <p:sp>
        <p:nvSpPr>
          <p:cNvPr id="2" name="!!footnote">
            <a:extLst>
              <a:ext uri="{FF2B5EF4-FFF2-40B4-BE49-F238E27FC236}">
                <a16:creationId xmlns:a16="http://schemas.microsoft.com/office/drawing/2014/main" id="{9A608F4C-0954-B2B8-72CD-9771082D7B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3" name="Title 16">
            <a:extLst>
              <a:ext uri="{FF2B5EF4-FFF2-40B4-BE49-F238E27FC236}">
                <a16:creationId xmlns:a16="http://schemas.microsoft.com/office/drawing/2014/main" id="{1A76693A-B1F0-086D-BD2A-8B5E1A922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8B9B91-F655-9EEB-4708-DB4771B750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3271266-C7B5-AAB6-4F94-BA15C5CBC6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8424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7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8031BF-779C-AD07-CD3E-10F300B365A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A8F8F0-F9DC-894C-3FAD-63D3D175DD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82EAD3A-2E1D-42B2-1518-18391742CCB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9348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rts with heading block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!!footnote">
            <a:extLst>
              <a:ext uri="{FF2B5EF4-FFF2-40B4-BE49-F238E27FC236}">
                <a16:creationId xmlns:a16="http://schemas.microsoft.com/office/drawing/2014/main" id="{0CDA58A8-35F7-CDB6-D1E7-F487CC4E96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FF2B023-92D1-67F6-296D-8C5A4C7472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4094" y="2032941"/>
            <a:ext cx="2588636" cy="391976"/>
          </a:xfrm>
          <a:custGeom>
            <a:avLst/>
            <a:gdLst>
              <a:gd name="connsiteX0" fmla="*/ 151934 w 5175250"/>
              <a:gd name="connsiteY0" fmla="*/ 0 h 783590"/>
              <a:gd name="connsiteX1" fmla="*/ 5023316 w 5175250"/>
              <a:gd name="connsiteY1" fmla="*/ 0 h 783590"/>
              <a:gd name="connsiteX2" fmla="*/ 5175250 w 5175250"/>
              <a:gd name="connsiteY2" fmla="*/ 152400 h 783590"/>
              <a:gd name="connsiteX3" fmla="*/ 5175250 w 5175250"/>
              <a:gd name="connsiteY3" fmla="*/ 783590 h 783590"/>
              <a:gd name="connsiteX4" fmla="*/ 0 w 5175250"/>
              <a:gd name="connsiteY4" fmla="*/ 783590 h 783590"/>
              <a:gd name="connsiteX5" fmla="*/ 0 w 5175250"/>
              <a:gd name="connsiteY5" fmla="*/ 152400 h 783590"/>
              <a:gd name="connsiteX6" fmla="*/ 151934 w 5175250"/>
              <a:gd name="connsiteY6" fmla="*/ 0 h 783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75250" h="783590">
                <a:moveTo>
                  <a:pt x="151934" y="0"/>
                </a:moveTo>
                <a:lnTo>
                  <a:pt x="5023316" y="0"/>
                </a:lnTo>
                <a:cubicBezTo>
                  <a:pt x="5107260" y="0"/>
                  <a:pt x="5175250" y="68326"/>
                  <a:pt x="5175250" y="152400"/>
                </a:cubicBezTo>
                <a:lnTo>
                  <a:pt x="5175250" y="783590"/>
                </a:lnTo>
                <a:lnTo>
                  <a:pt x="0" y="783590"/>
                </a:lnTo>
                <a:lnTo>
                  <a:pt x="0" y="152400"/>
                </a:lnTo>
                <a:cubicBezTo>
                  <a:pt x="0" y="68326"/>
                  <a:pt x="67991" y="0"/>
                  <a:pt x="151934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C29E0-2F97-05AD-B9A4-503730B6F2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8382" y="2032941"/>
            <a:ext cx="2588636" cy="391976"/>
          </a:xfrm>
          <a:custGeom>
            <a:avLst/>
            <a:gdLst>
              <a:gd name="connsiteX0" fmla="*/ 152027 w 5175250"/>
              <a:gd name="connsiteY0" fmla="*/ 0 h 783590"/>
              <a:gd name="connsiteX1" fmla="*/ 5023223 w 5175250"/>
              <a:gd name="connsiteY1" fmla="*/ 0 h 783590"/>
              <a:gd name="connsiteX2" fmla="*/ 5175250 w 5175250"/>
              <a:gd name="connsiteY2" fmla="*/ 152400 h 783590"/>
              <a:gd name="connsiteX3" fmla="*/ 5175250 w 5175250"/>
              <a:gd name="connsiteY3" fmla="*/ 783590 h 783590"/>
              <a:gd name="connsiteX4" fmla="*/ 0 w 5175250"/>
              <a:gd name="connsiteY4" fmla="*/ 783590 h 783590"/>
              <a:gd name="connsiteX5" fmla="*/ 0 w 5175250"/>
              <a:gd name="connsiteY5" fmla="*/ 152400 h 783590"/>
              <a:gd name="connsiteX6" fmla="*/ 152027 w 5175250"/>
              <a:gd name="connsiteY6" fmla="*/ 0 h 783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75250" h="783590">
                <a:moveTo>
                  <a:pt x="152027" y="0"/>
                </a:moveTo>
                <a:lnTo>
                  <a:pt x="5023223" y="0"/>
                </a:lnTo>
                <a:cubicBezTo>
                  <a:pt x="5107218" y="0"/>
                  <a:pt x="5175250" y="68326"/>
                  <a:pt x="5175250" y="152400"/>
                </a:cubicBezTo>
                <a:lnTo>
                  <a:pt x="5175250" y="783590"/>
                </a:lnTo>
                <a:lnTo>
                  <a:pt x="0" y="783590"/>
                </a:lnTo>
                <a:lnTo>
                  <a:pt x="0" y="152400"/>
                </a:lnTo>
                <a:cubicBezTo>
                  <a:pt x="0" y="68326"/>
                  <a:pt x="68032" y="0"/>
                  <a:pt x="152027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B2A7D34-B473-D720-5F57-58E8567F2A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64095" y="2424917"/>
            <a:ext cx="2588572" cy="3111587"/>
          </a:xfrm>
          <a:custGeom>
            <a:avLst/>
            <a:gdLst>
              <a:gd name="connsiteX0" fmla="*/ 0 w 5175123"/>
              <a:gd name="connsiteY0" fmla="*/ 0 h 3332480"/>
              <a:gd name="connsiteX1" fmla="*/ 5175123 w 5175123"/>
              <a:gd name="connsiteY1" fmla="*/ 0 h 3332480"/>
              <a:gd name="connsiteX2" fmla="*/ 5175123 w 5175123"/>
              <a:gd name="connsiteY2" fmla="*/ 3196464 h 3332480"/>
              <a:gd name="connsiteX3" fmla="*/ 5039522 w 5175123"/>
              <a:gd name="connsiteY3" fmla="*/ 3332480 h 3332480"/>
              <a:gd name="connsiteX4" fmla="*/ 135601 w 5175123"/>
              <a:gd name="connsiteY4" fmla="*/ 3332480 h 3332480"/>
              <a:gd name="connsiteX5" fmla="*/ 0 w 5175123"/>
              <a:gd name="connsiteY5" fmla="*/ 3196464 h 333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123" h="3332480">
                <a:moveTo>
                  <a:pt x="0" y="0"/>
                </a:moveTo>
                <a:lnTo>
                  <a:pt x="5175123" y="0"/>
                </a:lnTo>
                <a:lnTo>
                  <a:pt x="5175123" y="3196464"/>
                </a:lnTo>
                <a:cubicBezTo>
                  <a:pt x="5175123" y="3271520"/>
                  <a:pt x="5114476" y="3332480"/>
                  <a:pt x="5039522" y="3332480"/>
                </a:cubicBezTo>
                <a:lnTo>
                  <a:pt x="135601" y="3332480"/>
                </a:lnTo>
                <a:cubicBezTo>
                  <a:pt x="60774" y="3332480"/>
                  <a:pt x="0" y="3271647"/>
                  <a:pt x="0" y="3196464"/>
                </a:cubicBezTo>
                <a:close/>
              </a:path>
            </a:pathLst>
          </a:custGeom>
          <a:solidFill>
            <a:srgbClr val="F6F6F6"/>
          </a:solidFill>
        </p:spPr>
        <p:txBody>
          <a:bodyPr wrap="square" lIns="360000" tIns="360000" rIns="180000" bIns="36000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100">
                <a:latin typeface="+mn-lt"/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6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146B759-1C66-967D-B818-E0985097BE7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8381" y="2424917"/>
            <a:ext cx="2588573" cy="3111587"/>
          </a:xfrm>
          <a:custGeom>
            <a:avLst/>
            <a:gdLst>
              <a:gd name="connsiteX0" fmla="*/ 0 w 5175124"/>
              <a:gd name="connsiteY0" fmla="*/ 0 h 3332480"/>
              <a:gd name="connsiteX1" fmla="*/ 5175124 w 5175124"/>
              <a:gd name="connsiteY1" fmla="*/ 0 h 3332480"/>
              <a:gd name="connsiteX2" fmla="*/ 5175124 w 5175124"/>
              <a:gd name="connsiteY2" fmla="*/ 3196464 h 3332480"/>
              <a:gd name="connsiteX3" fmla="*/ 5039441 w 5175124"/>
              <a:gd name="connsiteY3" fmla="*/ 3332480 h 3332480"/>
              <a:gd name="connsiteX4" fmla="*/ 135684 w 5175124"/>
              <a:gd name="connsiteY4" fmla="*/ 3332480 h 3332480"/>
              <a:gd name="connsiteX5" fmla="*/ 0 w 5175124"/>
              <a:gd name="connsiteY5" fmla="*/ 3196464 h 333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124" h="3332480">
                <a:moveTo>
                  <a:pt x="0" y="0"/>
                </a:moveTo>
                <a:lnTo>
                  <a:pt x="5175124" y="0"/>
                </a:lnTo>
                <a:lnTo>
                  <a:pt x="5175124" y="3196464"/>
                </a:lnTo>
                <a:cubicBezTo>
                  <a:pt x="5175124" y="3271520"/>
                  <a:pt x="5114441" y="3332480"/>
                  <a:pt x="5039441" y="3332480"/>
                </a:cubicBezTo>
                <a:lnTo>
                  <a:pt x="135684" y="3332480"/>
                </a:lnTo>
                <a:cubicBezTo>
                  <a:pt x="60811" y="3332480"/>
                  <a:pt x="0" y="3271647"/>
                  <a:pt x="0" y="3196464"/>
                </a:cubicBezTo>
                <a:close/>
              </a:path>
            </a:pathLst>
          </a:custGeom>
          <a:solidFill>
            <a:srgbClr val="F6F6F6"/>
          </a:solidFill>
        </p:spPr>
        <p:txBody>
          <a:bodyPr wrap="square" lIns="360000" tIns="360000" rIns="180000" bIns="36000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100">
                <a:latin typeface="+mn-lt"/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6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595D5C3-6C4D-F81A-5038-EBFF48A3B3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249" y="1602927"/>
            <a:ext cx="4688312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4AAF17F-968E-A91C-2E1A-B29AB561C5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8424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7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6">
            <a:extLst>
              <a:ext uri="{FF2B5EF4-FFF2-40B4-BE49-F238E27FC236}">
                <a16:creationId xmlns:a16="http://schemas.microsoft.com/office/drawing/2014/main" id="{D287AF4C-C202-8F6D-6A3A-79D477343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C65FA4C-1306-6FAF-AC21-23801A5EB51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3EFCD3-ACE2-9AC1-4914-8F9D5AACC643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7660470-0BBC-087F-DA70-58B70A1E075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124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!!footnote">
            <a:extLst>
              <a:ext uri="{FF2B5EF4-FFF2-40B4-BE49-F238E27FC236}">
                <a16:creationId xmlns:a16="http://schemas.microsoft.com/office/drawing/2014/main" id="{8E68DA70-F4F5-1DB8-A032-4E1D4A01D9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2" y="6370172"/>
            <a:ext cx="3515304" cy="301209"/>
          </a:xfrm>
          <a:prstGeom prst="rect">
            <a:avLst/>
          </a:prstGeom>
        </p:spPr>
        <p:txBody>
          <a:bodyPr wrap="square" tIns="108000" bIns="108000" anchor="b">
            <a:spAutoFit/>
          </a:bodyPr>
          <a:lstStyle>
            <a:lvl1pPr marL="79407" indent="-79407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Font typeface="+mj-lt"/>
              <a:buAutoNum type="arabicPeriod"/>
              <a:tabLst/>
              <a:defRPr sz="600"/>
            </a:lvl1pPr>
          </a:lstStyle>
          <a:p>
            <a:pPr lvl="0"/>
            <a:r>
              <a:rPr lang="en-US"/>
              <a:t>Fotnot</a:t>
            </a:r>
            <a:endParaRPr lang="en-US" dirty="0"/>
          </a:p>
        </p:txBody>
      </p:sp>
      <p:sp>
        <p:nvSpPr>
          <p:cNvPr id="6" name="Title 16">
            <a:extLst>
              <a:ext uri="{FF2B5EF4-FFF2-40B4-BE49-F238E27FC236}">
                <a16:creationId xmlns:a16="http://schemas.microsoft.com/office/drawing/2014/main" id="{E493023F-B173-3F58-142B-2FAE7DD83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7042357" y="636089"/>
            <a:ext cx="4688312" cy="886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EA98DA5-1517-21C8-D62D-4A69FFB1E0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-17043152" y="1602927"/>
            <a:ext cx="4688313" cy="28572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6C5178-6C07-83C9-494C-15E4224FDC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17039976" y="2032941"/>
            <a:ext cx="4685137" cy="419294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7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6ECB209-126A-8C5A-2D28-647C7F746F4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0BB43F8-CE32-4120-4C5B-0D4BAC1DF3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EB73468-931B-CBE2-F87B-26A8849B6D2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4220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320077-4933-FF09-6B14-C45DEFEA8D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7791" y="1545127"/>
            <a:ext cx="9071342" cy="770020"/>
          </a:xfrm>
        </p:spPr>
        <p:txBody>
          <a:bodyPr anchor="ctr"/>
          <a:lstStyle>
            <a:lvl1pPr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Heading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7D06F3-A80B-1353-5E43-351D80F665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88584" y="2584376"/>
            <a:ext cx="1662762" cy="36407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501"/>
              </a:spcBef>
              <a:buNone/>
              <a:defRPr sz="1200" b="1">
                <a:solidFill>
                  <a:srgbClr val="80C5E5"/>
                </a:solidFill>
              </a:defRPr>
            </a:lvl1pPr>
            <a:lvl2pPr marL="0" indent="0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228691" indent="0">
              <a:buNone/>
              <a:defRPr sz="1200">
                <a:solidFill>
                  <a:schemeClr val="bg1"/>
                </a:solidFill>
              </a:defRPr>
            </a:lvl4pPr>
            <a:lvl5pPr marL="339067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  <a:p>
            <a:pPr lvl="1"/>
            <a:r>
              <a:rPr lang="en-US"/>
              <a:t>Namn</a:t>
            </a:r>
          </a:p>
          <a:p>
            <a:pPr lvl="2"/>
            <a:r>
              <a:rPr lang="en-US"/>
              <a:t>Information</a:t>
            </a:r>
            <a:endParaRPr lang="en-US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1C5FCC28-9562-AD2B-8DA8-BDDBBAEC70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0333" y="2584376"/>
            <a:ext cx="1662762" cy="36407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501"/>
              </a:spcBef>
              <a:buNone/>
              <a:defRPr sz="1200" b="1">
                <a:solidFill>
                  <a:srgbClr val="80C5E5"/>
                </a:solidFill>
              </a:defRPr>
            </a:lvl1pPr>
            <a:lvl2pPr marL="0" indent="0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228691" indent="0">
              <a:buNone/>
              <a:defRPr sz="1200">
                <a:solidFill>
                  <a:schemeClr val="bg1"/>
                </a:solidFill>
              </a:defRPr>
            </a:lvl4pPr>
            <a:lvl5pPr marL="339067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  <a:p>
            <a:pPr lvl="1"/>
            <a:r>
              <a:rPr lang="en-US"/>
              <a:t>Namn</a:t>
            </a:r>
          </a:p>
          <a:p>
            <a:pPr lvl="2"/>
            <a:r>
              <a:rPr lang="en-US"/>
              <a:t>Information</a:t>
            </a:r>
            <a:endParaRPr lang="en-US" dirty="0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0F7EA69-91AA-300C-4B28-E7E2E1E55B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081" y="2584376"/>
            <a:ext cx="1662762" cy="36407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501"/>
              </a:spcBef>
              <a:buNone/>
              <a:defRPr sz="1200" b="1">
                <a:solidFill>
                  <a:srgbClr val="80C5E5"/>
                </a:solidFill>
              </a:defRPr>
            </a:lvl1pPr>
            <a:lvl2pPr marL="0" indent="0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228691" indent="0">
              <a:buNone/>
              <a:defRPr sz="1200">
                <a:solidFill>
                  <a:schemeClr val="bg1"/>
                </a:solidFill>
              </a:defRPr>
            </a:lvl4pPr>
            <a:lvl5pPr marL="339067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  <a:p>
            <a:pPr lvl="1"/>
            <a:r>
              <a:rPr lang="en-US"/>
              <a:t>Namn</a:t>
            </a:r>
          </a:p>
          <a:p>
            <a:pPr lvl="2"/>
            <a:r>
              <a:rPr lang="en-US"/>
              <a:t>Information</a:t>
            </a:r>
            <a:endParaRPr lang="en-US" dirty="0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C09AC9B-9AE9-2D5C-0D7B-B7B88BB51A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43829" y="2584376"/>
            <a:ext cx="1662762" cy="36407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501"/>
              </a:spcBef>
              <a:buNone/>
              <a:defRPr sz="1200" b="1">
                <a:solidFill>
                  <a:srgbClr val="80C5E5"/>
                </a:solidFill>
              </a:defRPr>
            </a:lvl1pPr>
            <a:lvl2pPr marL="0" indent="0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228691" indent="0">
              <a:buNone/>
              <a:defRPr sz="1200">
                <a:solidFill>
                  <a:schemeClr val="bg1"/>
                </a:solidFill>
              </a:defRPr>
            </a:lvl4pPr>
            <a:lvl5pPr marL="339067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  <a:p>
            <a:pPr lvl="1"/>
            <a:r>
              <a:rPr lang="en-US"/>
              <a:t>Namn</a:t>
            </a:r>
          </a:p>
          <a:p>
            <a:pPr lvl="2"/>
            <a:r>
              <a:rPr lang="en-US"/>
              <a:t>Information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DB1F8B61-E568-E698-E931-3ED26FA6D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95577" y="2584376"/>
            <a:ext cx="1662762" cy="364071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501"/>
              </a:spcBef>
              <a:buNone/>
              <a:defRPr sz="1200" b="1">
                <a:solidFill>
                  <a:srgbClr val="80C5E5"/>
                </a:solidFill>
              </a:defRPr>
            </a:lvl1pPr>
            <a:lvl2pPr marL="0" indent="0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228691" indent="0">
              <a:buNone/>
              <a:defRPr sz="1200">
                <a:solidFill>
                  <a:schemeClr val="bg1"/>
                </a:solidFill>
              </a:defRPr>
            </a:lvl4pPr>
            <a:lvl5pPr marL="339067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  <a:p>
            <a:pPr lvl="1"/>
            <a:r>
              <a:rPr lang="en-US"/>
              <a:t>Namn</a:t>
            </a:r>
          </a:p>
          <a:p>
            <a:pPr lvl="2"/>
            <a:r>
              <a:rPr lang="en-US"/>
              <a:t>Information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6E44B20-94D9-82AE-6AA3-FD5ED790914B}"/>
              </a:ext>
            </a:extLst>
          </p:cNvPr>
          <p:cNvGrpSpPr/>
          <p:nvPr userDrawn="1"/>
        </p:nvGrpSpPr>
        <p:grpSpPr>
          <a:xfrm>
            <a:off x="9111208" y="6296975"/>
            <a:ext cx="2849138" cy="442050"/>
            <a:chOff x="9111208" y="5270922"/>
            <a:chExt cx="2849138" cy="442050"/>
          </a:xfrm>
        </p:grpSpPr>
        <p:pic>
          <p:nvPicPr>
            <p:cNvPr id="7" name="Picture 87" descr="Logo&#10;&#10;Description automatically generated">
              <a:extLst>
                <a:ext uri="{FF2B5EF4-FFF2-40B4-BE49-F238E27FC236}">
                  <a16:creationId xmlns:a16="http://schemas.microsoft.com/office/drawing/2014/main" id="{A3BBD352-E412-B0B0-9DAE-BA884EEE01B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64203" y="5270922"/>
              <a:ext cx="1196143" cy="421430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97DF694-D9F7-0296-CE7E-D599E4601E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372867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D1E767F-4E37-7DDE-5C02-16AF180847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111208" y="5463497"/>
              <a:ext cx="1702038" cy="166981"/>
            </a:xfrm>
            <a:prstGeom prst="rect">
              <a:avLst/>
            </a:prstGeom>
          </p:spPr>
        </p:pic>
      </p:grp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A7D1252A-2E3A-249F-FB4D-CA2FE0FEA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3FCDE27-3077-D478-39D3-0CA176E75AA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6114DE-2A18-FDB1-20C5-71567AF72E8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621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s after this slide are not part of th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41BE269-70CA-086B-BE69-AFAE993F9050}"/>
              </a:ext>
            </a:extLst>
          </p:cNvPr>
          <p:cNvSpPr/>
          <p:nvPr userDrawn="1"/>
        </p:nvSpPr>
        <p:spPr>
          <a:xfrm>
            <a:off x="2415728" y="2167003"/>
            <a:ext cx="7365304" cy="237994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000" tIns="378000" rIns="378000" bIns="378000" rtlCol="0" anchor="ctr"/>
          <a:lstStyle/>
          <a:p>
            <a:pPr algn="ctr">
              <a:lnSpc>
                <a:spcPct val="90000"/>
              </a:lnSpc>
            </a:pPr>
            <a:endParaRPr lang="en-US" sz="3000" b="0" i="0" dirty="0">
              <a:latin typeface="Arial" panose="020B0604020202020204" pitchFamily="34" charset="0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4405A5C8-297E-E3EB-142A-5DE16BD606D2}"/>
              </a:ext>
            </a:extLst>
          </p:cNvPr>
          <p:cNvSpPr txBox="1"/>
          <p:nvPr userDrawn="1"/>
        </p:nvSpPr>
        <p:spPr>
          <a:xfrm>
            <a:off x="1677054" y="2846310"/>
            <a:ext cx="8842653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ages </a:t>
            </a:r>
            <a:r>
              <a:rPr lang="en-US" sz="2800" b="1" kern="1200" dirty="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rPr>
              <a:t>after</a:t>
            </a:r>
            <a:r>
              <a:rPr lang="en-US" sz="2800" b="1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his slide are not </a:t>
            </a:r>
            <a:br>
              <a:rPr lang="en-US" sz="2800" b="1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en-US" sz="2800" b="1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art of the template.</a:t>
            </a:r>
          </a:p>
        </p:txBody>
      </p:sp>
    </p:spTree>
    <p:extLst>
      <p:ext uri="{BB962C8B-B14F-4D97-AF65-F5344CB8AC3E}">
        <p14:creationId xmlns:p14="http://schemas.microsoft.com/office/powerpoint/2010/main" val="794899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on gradi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En bild som visar himmel, Electric blue, blå, Majorelleblå&#10;&#10;Automatiskt genererad beskrivning">
            <a:extLst>
              <a:ext uri="{FF2B5EF4-FFF2-40B4-BE49-F238E27FC236}">
                <a16:creationId xmlns:a16="http://schemas.microsoft.com/office/drawing/2014/main" id="{92E9B07B-C149-D7D2-3108-572862918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715"/>
            <a:ext cx="12196763" cy="6859460"/>
          </a:xfrm>
          <a:prstGeom prst="rect">
            <a:avLst/>
          </a:prstGeom>
        </p:spPr>
      </p:pic>
      <p:pic>
        <p:nvPicPr>
          <p:cNvPr id="88" name="Picture 87" descr="Logo&#10;&#10;Description automatically generated">
            <a:extLst>
              <a:ext uri="{FF2B5EF4-FFF2-40B4-BE49-F238E27FC236}">
                <a16:creationId xmlns:a16="http://schemas.microsoft.com/office/drawing/2014/main" id="{0234E0DE-1ED4-908B-39BC-9F556C200C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2964" y="2308519"/>
            <a:ext cx="4428950" cy="156042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0396AFE-1D62-F6A5-97C6-1059E3C7CCE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88A23C-489F-AD96-EF8E-CDE7CBB39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13BDAE8-A22F-FBAB-0692-1C8F5346C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80537C-07EA-3380-CEC8-A299DC6EB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76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on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BDF280C7-0230-814E-2B16-EC61623713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2964" y="2308519"/>
            <a:ext cx="4428950" cy="156042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52ADBD0-C7B3-254C-C06C-F12D2CBD73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2AE284-546B-5E00-F2E3-12BCF2755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048082-9BA8-921C-C513-A64B8B269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D9D8C62-E5F4-3735-E9F2-05A53FEB6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445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on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71BCCBC-E4BB-BB6A-F1C0-D856F5A89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2964" y="2308519"/>
            <a:ext cx="4428950" cy="156042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486B46F-298E-3A77-9375-2D2AD0612AC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490361-BE99-BDDF-793A-340BE2BF9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8E8BF5-B90B-B4C7-452D-32C6813B3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291090-1C34-2391-A3A4-A8AE33B84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246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on gradien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En bild som visar himmel, Electric blue, blå, Majorelleblå&#10;&#10;Automatiskt genererad beskrivning">
            <a:extLst>
              <a:ext uri="{FF2B5EF4-FFF2-40B4-BE49-F238E27FC236}">
                <a16:creationId xmlns:a16="http://schemas.microsoft.com/office/drawing/2014/main" id="{92E9B07B-C149-D7D2-3108-572862918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8"/>
            <a:ext cx="12196763" cy="6859460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A17251C0-3359-E9FF-4F7C-3FE5975173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2964" y="2308519"/>
            <a:ext cx="4428950" cy="24499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9720B0-AE1A-2F2C-6800-925D782A9A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DA5950D-3347-B9AC-800D-13B5BD379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09214E0-3C59-9309-41E2-9A7D825D7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38A8CDE-B8F4-E97C-1979-8E8761B44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64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with byline on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C845D5F-AA5E-AE5A-FD0A-D509327DAF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2964" y="2308519"/>
            <a:ext cx="4428950" cy="244997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4BAAD79-ECB3-BBBA-72CF-DD1553BA7D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7202" y="6489593"/>
            <a:ext cx="1702038" cy="166981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A5A52E-E2CD-7954-7167-CB873D473F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C7A55E-EDB3-0554-BEF3-5ACFE60BD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39DA05-BC51-A457-66B6-7F65C1177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327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 page with quote on gradi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himmel, Electric blue, blå, Majorelleblå&#10;&#10;Automatiskt genererad beskrivning">
            <a:extLst>
              <a:ext uri="{FF2B5EF4-FFF2-40B4-BE49-F238E27FC236}">
                <a16:creationId xmlns:a16="http://schemas.microsoft.com/office/drawing/2014/main" id="{6D440BB5-6E14-4D96-9B28-BEE60CCBAD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3" y="2483"/>
            <a:ext cx="12196763" cy="685946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258EC79-F416-4E3D-A67E-4A13E80045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87791" y="2801312"/>
            <a:ext cx="7221182" cy="1258551"/>
          </a:xfrm>
        </p:spPr>
        <p:txBody>
          <a:bodyPr anchor="ctr"/>
          <a:lstStyle>
            <a:lvl1pPr algn="ctr">
              <a:lnSpc>
                <a:spcPct val="90000"/>
              </a:lnSpc>
              <a:defRPr sz="420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8F294D-8529-CAF7-6673-BA7E8966926B}"/>
              </a:ext>
            </a:extLst>
          </p:cNvPr>
          <p:cNvGrpSpPr/>
          <p:nvPr userDrawn="1"/>
        </p:nvGrpSpPr>
        <p:grpSpPr>
          <a:xfrm>
            <a:off x="9111208" y="6296975"/>
            <a:ext cx="2849138" cy="442050"/>
            <a:chOff x="9111208" y="5270922"/>
            <a:chExt cx="2849138" cy="442050"/>
          </a:xfrm>
        </p:grpSpPr>
        <p:pic>
          <p:nvPicPr>
            <p:cNvPr id="8" name="Picture 87" descr="Logo&#10;&#10;Description automatically generated">
              <a:extLst>
                <a:ext uri="{FF2B5EF4-FFF2-40B4-BE49-F238E27FC236}">
                  <a16:creationId xmlns:a16="http://schemas.microsoft.com/office/drawing/2014/main" id="{75AE424E-6A74-C4C7-BCEF-1FE475FE52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64203" y="5270922"/>
              <a:ext cx="1196143" cy="421430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ADA679B-A755-D2E1-9013-CB94A72B61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372867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C95BFA3-E7EB-6CC4-C335-2B2DB3BF5A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111208" y="5463497"/>
              <a:ext cx="1702038" cy="166981"/>
            </a:xfrm>
            <a:prstGeom prst="rect">
              <a:avLst/>
            </a:prstGeom>
          </p:spPr>
        </p:pic>
      </p:grp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270EEBC-A8D4-52E3-F34D-843A02C89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48B9CDF-177C-4391-62F0-87F2E2935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ame of presentation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AE89D61-87F9-702D-11E7-A7EB26BCD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931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75F71F5-7D47-96A3-3C96-F7349FC3C2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34103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622" imgH="623" progId="TCLayout.ActiveDocument.1">
                  <p:embed/>
                </p:oleObj>
              </mc:Choice>
              <mc:Fallback>
                <p:oleObj name="think-cell Slide" r:id="rId42" imgW="622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5F71F5-7D47-96A3-3C96-F7349FC3C2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152683E2-9A31-4B47-ACFE-390B6E0AF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6089877" cy="480261"/>
          </a:xfrm>
          <a:prstGeom prst="rect">
            <a:avLst/>
          </a:prstGeom>
        </p:spPr>
        <p:txBody>
          <a:bodyPr vert="horz" wrap="square" lIns="90000" tIns="46800" rIns="90000" bIns="46800" rtlCol="0" anchor="t">
            <a:spAutoFit/>
          </a:bodyPr>
          <a:lstStyle/>
          <a:p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1C0710F-3CB3-4F01-9977-A1A69928F1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6042" y="1936188"/>
            <a:ext cx="10923066" cy="1100550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07D54BB-8EC7-458A-A082-8AF4306364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61916" y="6525264"/>
            <a:ext cx="736888" cy="1993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4BD7EC45-426A-44E2-A275-19BAE6E62F52}" type="datetime1">
              <a:rPr lang="en-US" smtClean="0"/>
              <a:pPr/>
              <a:t>7/4/2024</a:t>
            </a:fld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C0A3ABB-C906-40E9-AF35-0DB0B3403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87791" y="6525264"/>
            <a:ext cx="1662762" cy="1993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Name of 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7249AA9-CC7D-40E0-9894-3652F2EE8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6043" y="6525264"/>
            <a:ext cx="457377" cy="1993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AE086683-F536-42AB-ABBC-F4803DFE8D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D781A01-F55F-3170-F272-118BB7E333D4}"/>
              </a:ext>
            </a:extLst>
          </p:cNvPr>
          <p:cNvGrpSpPr/>
          <p:nvPr userDrawn="1"/>
        </p:nvGrpSpPr>
        <p:grpSpPr>
          <a:xfrm>
            <a:off x="9111198" y="6354685"/>
            <a:ext cx="2617467" cy="435311"/>
            <a:chOff x="9111198" y="5884921"/>
            <a:chExt cx="2617467" cy="435311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81683EE2-C2D0-88AE-FB79-D287C4839E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10996237" y="5884921"/>
              <a:ext cx="732428" cy="435311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D446679-3AB5-8A3F-029B-269330ED23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25945" y="5934381"/>
              <a:ext cx="0" cy="34010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2029D2F-BEB9-3506-828A-77647966FE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6"/>
            <a:stretch>
              <a:fillRect/>
            </a:stretch>
          </p:blipFill>
          <p:spPr>
            <a:xfrm>
              <a:off x="9111198" y="6020943"/>
              <a:ext cx="1702048" cy="1669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13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0" r:id="rId2"/>
    <p:sldLayoutId id="2147483711" r:id="rId3"/>
    <p:sldLayoutId id="2147483678" r:id="rId4"/>
    <p:sldLayoutId id="2147483679" r:id="rId5"/>
    <p:sldLayoutId id="2147483680" r:id="rId6"/>
    <p:sldLayoutId id="2147483717" r:id="rId7"/>
    <p:sldLayoutId id="2147483681" r:id="rId8"/>
    <p:sldLayoutId id="2147483682" r:id="rId9"/>
    <p:sldLayoutId id="2147483683" r:id="rId10"/>
    <p:sldLayoutId id="2147483654" r:id="rId11"/>
    <p:sldLayoutId id="2147483649" r:id="rId12"/>
    <p:sldLayoutId id="2147483718" r:id="rId13"/>
    <p:sldLayoutId id="2147483661" r:id="rId14"/>
    <p:sldLayoutId id="2147483662" r:id="rId15"/>
    <p:sldLayoutId id="2147483650" r:id="rId16"/>
    <p:sldLayoutId id="2147483712" r:id="rId17"/>
    <p:sldLayoutId id="2147483715" r:id="rId18"/>
    <p:sldLayoutId id="2147483713" r:id="rId19"/>
    <p:sldLayoutId id="2147483668" r:id="rId20"/>
    <p:sldLayoutId id="2147483671" r:id="rId21"/>
    <p:sldLayoutId id="2147483684" r:id="rId22"/>
    <p:sldLayoutId id="2147483672" r:id="rId23"/>
    <p:sldLayoutId id="2147483673" r:id="rId24"/>
    <p:sldLayoutId id="2147483675" r:id="rId25"/>
    <p:sldLayoutId id="2147483676" r:id="rId26"/>
    <p:sldLayoutId id="2147483677" r:id="rId27"/>
    <p:sldLayoutId id="2147483685" r:id="rId28"/>
    <p:sldLayoutId id="2147483686" r:id="rId29"/>
    <p:sldLayoutId id="2147483687" r:id="rId30"/>
    <p:sldLayoutId id="2147483688" r:id="rId31"/>
    <p:sldLayoutId id="2147483690" r:id="rId32"/>
    <p:sldLayoutId id="2147483693" r:id="rId33"/>
    <p:sldLayoutId id="2147483694" r:id="rId34"/>
    <p:sldLayoutId id="2147483691" r:id="rId35"/>
    <p:sldLayoutId id="2147483714" r:id="rId36"/>
    <p:sldLayoutId id="2147483655" r:id="rId37"/>
    <p:sldLayoutId id="2147483692" r:id="rId38"/>
    <p:sldLayoutId id="2147483658" r:id="rId39"/>
  </p:sldLayoutIdLst>
  <p:hf hdr="0" dt="0"/>
  <p:txStyles>
    <p:titleStyle>
      <a:lvl1pPr algn="l" defTabSz="914766" rtl="0" eaLnBrk="1" latinLnBrk="0" hangingPunct="1">
        <a:lnSpc>
          <a:spcPct val="110000"/>
        </a:lnSpc>
        <a:spcBef>
          <a:spcPct val="0"/>
        </a:spcBef>
        <a:buNone/>
        <a:defRPr sz="2400" b="1" i="0" kern="1200" cap="all" baseline="0">
          <a:solidFill>
            <a:schemeClr val="tx2"/>
          </a:solidFill>
          <a:latin typeface="+mj-lt"/>
          <a:ea typeface="+mj-ea"/>
          <a:cs typeface="Arial Black" panose="020B0604020202020204" pitchFamily="34" charset="0"/>
        </a:defRPr>
      </a:lvl1pPr>
    </p:titleStyle>
    <p:bodyStyle>
      <a:lvl1pPr marL="0" indent="0" algn="l" defTabSz="914766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Tx/>
        <a:buFont typeface="Scandinavian New" panose="02000503040000020004" pitchFamily="50" charset="0"/>
        <a:buNone/>
        <a:defRPr sz="14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5738" indent="-185738" algn="l" defTabSz="914766" rtl="0" eaLnBrk="1" latinLnBrk="0" hangingPunct="1">
        <a:lnSpc>
          <a:spcPct val="100000"/>
        </a:lnSpc>
        <a:spcBef>
          <a:spcPts val="376"/>
        </a:spcBef>
        <a:spcAft>
          <a:spcPts val="376"/>
        </a:spcAft>
        <a:buClr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28691" indent="-118316" algn="l" defTabSz="91476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43037" indent="-114346" algn="l" defTabSz="914766" rtl="0" eaLnBrk="1" latinLnBrk="0" hangingPunct="1">
        <a:lnSpc>
          <a:spcPct val="100000"/>
        </a:lnSpc>
        <a:spcBef>
          <a:spcPts val="276"/>
        </a:spcBef>
        <a:spcAft>
          <a:spcPts val="276"/>
        </a:spcAft>
        <a:buClrTx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453413" indent="-114346" algn="l" defTabSz="914766" rtl="0" eaLnBrk="1" latinLnBrk="0" hangingPunct="1">
        <a:lnSpc>
          <a:spcPct val="100000"/>
        </a:lnSpc>
        <a:spcBef>
          <a:spcPts val="226"/>
        </a:spcBef>
        <a:spcAft>
          <a:spcPts val="226"/>
        </a:spcAft>
        <a:buClrTx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453781" indent="-115246" algn="l" defTabSz="914766" rtl="0" eaLnBrk="1" latinLnBrk="0" hangingPunct="1">
        <a:lnSpc>
          <a:spcPct val="100000"/>
        </a:lnSpc>
        <a:spcBef>
          <a:spcPts val="226"/>
        </a:spcBef>
        <a:spcAft>
          <a:spcPts val="226"/>
        </a:spcAft>
        <a:buClrTx/>
        <a:buFont typeface="Arial" panose="020B0604020202020204" pitchFamily="34" charset="0"/>
        <a:buChar char="•"/>
        <a:defRPr sz="8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563788" indent="-114346" algn="l" defTabSz="914766" rtl="0" eaLnBrk="1" latinLnBrk="0" hangingPunct="1">
        <a:lnSpc>
          <a:spcPct val="100000"/>
        </a:lnSpc>
        <a:spcBef>
          <a:spcPts val="226"/>
        </a:spcBef>
        <a:spcAft>
          <a:spcPts val="226"/>
        </a:spcAft>
        <a:buClrTx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670987" indent="-99259" algn="l" defTabSz="914766" rtl="0" eaLnBrk="1" latinLnBrk="0" hangingPunct="1">
        <a:lnSpc>
          <a:spcPct val="100000"/>
        </a:lnSpc>
        <a:spcBef>
          <a:spcPts val="226"/>
        </a:spcBef>
        <a:spcAft>
          <a:spcPts val="226"/>
        </a:spcAft>
        <a:buClrTx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789303" indent="-114346" algn="l" defTabSz="914766" rtl="0" eaLnBrk="1" latinLnBrk="0" hangingPunct="1">
        <a:lnSpc>
          <a:spcPct val="100000"/>
        </a:lnSpc>
        <a:spcBef>
          <a:spcPts val="226"/>
        </a:spcBef>
        <a:spcAft>
          <a:spcPts val="226"/>
        </a:spcAft>
        <a:buClrTx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91476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0" userDrawn="1">
          <p15:clr>
            <a:srgbClr val="F26B43"/>
          </p15:clr>
        </p15:guide>
        <p15:guide id="2" pos="864" userDrawn="1">
          <p15:clr>
            <a:srgbClr val="A4A3A4"/>
          </p15:clr>
        </p15:guide>
        <p15:guide id="3" pos="984" userDrawn="1">
          <p15:clr>
            <a:srgbClr val="A4A3A4"/>
          </p15:clr>
        </p15:guide>
        <p15:guide id="4" pos="1448" userDrawn="1">
          <p15:clr>
            <a:srgbClr val="A4A3A4"/>
          </p15:clr>
        </p15:guide>
        <p15:guide id="5" pos="1567" userDrawn="1">
          <p15:clr>
            <a:srgbClr val="A4A3A4"/>
          </p15:clr>
        </p15:guide>
        <p15:guide id="6" pos="2031" userDrawn="1">
          <p15:clr>
            <a:srgbClr val="A4A3A4"/>
          </p15:clr>
        </p15:guide>
        <p15:guide id="7" pos="2150" userDrawn="1">
          <p15:clr>
            <a:srgbClr val="A4A3A4"/>
          </p15:clr>
        </p15:guide>
        <p15:guide id="8" pos="2615" userDrawn="1">
          <p15:clr>
            <a:srgbClr val="A4A3A4"/>
          </p15:clr>
        </p15:guide>
        <p15:guide id="9" pos="2734" userDrawn="1">
          <p15:clr>
            <a:srgbClr val="A4A3A4"/>
          </p15:clr>
        </p15:guide>
        <p15:guide id="10" pos="3198" userDrawn="1">
          <p15:clr>
            <a:srgbClr val="A4A3A4"/>
          </p15:clr>
        </p15:guide>
        <p15:guide id="11" pos="3317" userDrawn="1">
          <p15:clr>
            <a:srgbClr val="A4A3A4"/>
          </p15:clr>
        </p15:guide>
        <p15:guide id="12" pos="3781" userDrawn="1">
          <p15:clr>
            <a:srgbClr val="A4A3A4"/>
          </p15:clr>
        </p15:guide>
        <p15:guide id="13" pos="3901" userDrawn="1">
          <p15:clr>
            <a:srgbClr val="A4A3A4"/>
          </p15:clr>
        </p15:guide>
        <p15:guide id="14" pos="4365" userDrawn="1">
          <p15:clr>
            <a:srgbClr val="A4A3A4"/>
          </p15:clr>
        </p15:guide>
        <p15:guide id="15" pos="4484" userDrawn="1">
          <p15:clr>
            <a:srgbClr val="A4A3A4"/>
          </p15:clr>
        </p15:guide>
        <p15:guide id="16" pos="4948" userDrawn="1">
          <p15:clr>
            <a:srgbClr val="A4A3A4"/>
          </p15:clr>
        </p15:guide>
        <p15:guide id="17" pos="5067" userDrawn="1">
          <p15:clr>
            <a:srgbClr val="A4A3A4"/>
          </p15:clr>
        </p15:guide>
        <p15:guide id="18" pos="5532" userDrawn="1">
          <p15:clr>
            <a:srgbClr val="A4A3A4"/>
          </p15:clr>
        </p15:guide>
        <p15:guide id="19" pos="5651" userDrawn="1">
          <p15:clr>
            <a:srgbClr val="A4A3A4"/>
          </p15:clr>
        </p15:guide>
        <p15:guide id="20" pos="6115" userDrawn="1">
          <p15:clr>
            <a:srgbClr val="A4A3A4"/>
          </p15:clr>
        </p15:guide>
        <p15:guide id="21" pos="6234" userDrawn="1">
          <p15:clr>
            <a:srgbClr val="A4A3A4"/>
          </p15:clr>
        </p15:guide>
        <p15:guide id="22" pos="6699" userDrawn="1">
          <p15:clr>
            <a:srgbClr val="A4A3A4"/>
          </p15:clr>
        </p15:guide>
        <p15:guide id="23" pos="6818" userDrawn="1">
          <p15:clr>
            <a:srgbClr val="A4A3A4"/>
          </p15:clr>
        </p15:guide>
        <p15:guide id="24" pos="7282" userDrawn="1">
          <p15:clr>
            <a:srgbClr val="F26B43"/>
          </p15:clr>
        </p15:guide>
        <p15:guide id="25" orient="horz" pos="400" userDrawn="1">
          <p15:clr>
            <a:srgbClr val="F26B43"/>
          </p15:clr>
        </p15:guide>
        <p15:guide id="26" orient="horz" pos="694" userDrawn="1">
          <p15:clr>
            <a:srgbClr val="A4A3A4"/>
          </p15:clr>
        </p15:guide>
        <p15:guide id="27" orient="horz" pos="987" userDrawn="1">
          <p15:clr>
            <a:srgbClr val="A4A3A4"/>
          </p15:clr>
        </p15:guide>
        <p15:guide id="28" orient="horz" pos="1281" userDrawn="1">
          <p15:clr>
            <a:srgbClr val="A4A3A4"/>
          </p15:clr>
        </p15:guide>
        <p15:guide id="29" orient="horz" pos="1574" userDrawn="1">
          <p15:clr>
            <a:srgbClr val="A4A3A4"/>
          </p15:clr>
        </p15:guide>
        <p15:guide id="30" orient="horz" pos="1867" userDrawn="1">
          <p15:clr>
            <a:srgbClr val="A4A3A4"/>
          </p15:clr>
        </p15:guide>
        <p15:guide id="31" orient="horz" pos="2161" userDrawn="1">
          <p15:clr>
            <a:srgbClr val="A4A3A4"/>
          </p15:clr>
        </p15:guide>
        <p15:guide id="32" orient="horz" pos="2454" userDrawn="1">
          <p15:clr>
            <a:srgbClr val="A4A3A4"/>
          </p15:clr>
        </p15:guide>
        <p15:guide id="33" orient="horz" pos="2748" userDrawn="1">
          <p15:clr>
            <a:srgbClr val="A4A3A4"/>
          </p15:clr>
        </p15:guide>
        <p15:guide id="34" orient="horz" pos="3041" userDrawn="1">
          <p15:clr>
            <a:srgbClr val="A4A3A4"/>
          </p15:clr>
        </p15:guide>
        <p15:guide id="35" orient="horz" pos="3335" userDrawn="1">
          <p15:clr>
            <a:srgbClr val="A4A3A4"/>
          </p15:clr>
        </p15:guide>
        <p15:guide id="36" orient="horz" pos="3628" userDrawn="1">
          <p15:clr>
            <a:srgbClr val="A4A3A4"/>
          </p15:clr>
        </p15:guide>
        <p15:guide id="37" orient="horz" pos="39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041444F-0CAE-DAD7-4E11-332D25DE1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04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41444F-0CAE-DAD7-4E11-332D25DE1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B439CF6A-E594-A8EC-5102-E53FE85D2D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1916" y="3090460"/>
            <a:ext cx="9072931" cy="676533"/>
          </a:xfrm>
        </p:spPr>
        <p:txBody>
          <a:bodyPr vert="horz"/>
          <a:lstStyle/>
          <a:p>
            <a:r>
              <a:rPr lang="sv-SE" dirty="0" err="1"/>
              <a:t>benefits</a:t>
            </a:r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0C37F2-274D-1012-EB85-05EC33568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2B6022-F135-CCFC-0D80-D97813EF1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D81137-E44E-4038-B287-767483FD80B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7BD0A80A-D84D-7010-251A-D9BF45379A7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err="1"/>
              <a:t>EuroBonus</a:t>
            </a:r>
            <a:r>
              <a:rPr lang="sv-SE" dirty="0"/>
              <a:t> </a:t>
            </a:r>
            <a:r>
              <a:rPr lang="sv-SE" dirty="0" err="1"/>
              <a:t>updates</a:t>
            </a:r>
            <a:endParaRPr lang="sv-S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6586F8-1BF0-5745-9F51-0BBF003F9A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err="1"/>
              <a:t>July</a:t>
            </a:r>
            <a:r>
              <a:rPr lang="sv-SE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3578518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43AFABB-929A-0816-141A-BAA8E22010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99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AFABB-929A-0816-141A-BAA8E2201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Table 27">
            <a:extLst>
              <a:ext uri="{FF2B5EF4-FFF2-40B4-BE49-F238E27FC236}">
                <a16:creationId xmlns:a16="http://schemas.microsoft.com/office/drawing/2014/main" id="{0061153A-0B79-D4CB-E9ED-93644EB4BC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346471"/>
              </p:ext>
            </p:extLst>
          </p:nvPr>
        </p:nvGraphicFramePr>
        <p:xfrm>
          <a:off x="636043" y="1599915"/>
          <a:ext cx="10900638" cy="4496082"/>
        </p:xfrm>
        <a:graphic>
          <a:graphicData uri="http://schemas.openxmlformats.org/drawingml/2006/table">
            <a:tbl>
              <a:tblPr firstRow="1" bandRow="1">
                <a:tableStyleId>{EBC91A5C-2460-4EA5-BDA4-7DDF64713C32}</a:tableStyleId>
              </a:tblPr>
              <a:tblGrid>
                <a:gridCol w="3633546">
                  <a:extLst>
                    <a:ext uri="{9D8B030D-6E8A-4147-A177-3AD203B41FA5}">
                      <a16:colId xmlns:a16="http://schemas.microsoft.com/office/drawing/2014/main" val="2687127490"/>
                    </a:ext>
                  </a:extLst>
                </a:gridCol>
                <a:gridCol w="3633546">
                  <a:extLst>
                    <a:ext uri="{9D8B030D-6E8A-4147-A177-3AD203B41FA5}">
                      <a16:colId xmlns:a16="http://schemas.microsoft.com/office/drawing/2014/main" val="3665059510"/>
                    </a:ext>
                  </a:extLst>
                </a:gridCol>
                <a:gridCol w="3633546">
                  <a:extLst>
                    <a:ext uri="{9D8B030D-6E8A-4147-A177-3AD203B41FA5}">
                      <a16:colId xmlns:a16="http://schemas.microsoft.com/office/drawing/2014/main" val="3553764003"/>
                    </a:ext>
                  </a:extLst>
                </a:gridCol>
              </a:tblGrid>
              <a:tr h="749347">
                <a:tc>
                  <a:txBody>
                    <a:bodyPr/>
                    <a:lstStyle/>
                    <a:p>
                      <a:pPr algn="ctr"/>
                      <a:r>
                        <a:rPr lang="sv-SE" sz="2000" dirty="0" err="1">
                          <a:solidFill>
                            <a:schemeClr val="tx1"/>
                          </a:solidFill>
                        </a:rPr>
                        <a:t>EuroBonus</a:t>
                      </a:r>
                      <a:r>
                        <a:rPr lang="sv-SE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2000" dirty="0" err="1">
                          <a:solidFill>
                            <a:schemeClr val="tx1"/>
                          </a:solidFill>
                        </a:rPr>
                        <a:t>level</a:t>
                      </a:r>
                      <a:endParaRPr lang="sv-SE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646972"/>
                  </a:ext>
                </a:extLst>
              </a:tr>
              <a:tr h="749347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8236734"/>
                  </a:ext>
                </a:extLst>
              </a:tr>
              <a:tr h="749347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1300653"/>
                  </a:ext>
                </a:extLst>
              </a:tr>
              <a:tr h="749347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51381"/>
                  </a:ext>
                </a:extLst>
              </a:tr>
              <a:tr h="749347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730902"/>
                  </a:ext>
                </a:extLst>
              </a:tr>
              <a:tr h="749347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522563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9BD127-4338-D2ED-D0BC-9494C858C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3" y="636089"/>
            <a:ext cx="9683614" cy="480261"/>
          </a:xfrm>
        </p:spPr>
        <p:txBody>
          <a:bodyPr vert="horz"/>
          <a:lstStyle/>
          <a:p>
            <a:r>
              <a:rPr lang="sv-SE" dirty="0" err="1"/>
              <a:t>Benefits</a:t>
            </a:r>
            <a:r>
              <a:rPr lang="sv-SE" dirty="0"/>
              <a:t> </a:t>
            </a:r>
            <a:r>
              <a:rPr lang="sv-SE" dirty="0" err="1"/>
              <a:t>across</a:t>
            </a:r>
            <a:r>
              <a:rPr lang="sv-SE" dirty="0"/>
              <a:t> </a:t>
            </a:r>
            <a:r>
              <a:rPr lang="sv-SE" dirty="0" err="1"/>
              <a:t>alliance</a:t>
            </a:r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627D0F-4565-B837-0180-BF861F5E319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E086683-F536-42AB-ABBC-F4803DFE8D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3B3AC088-9BAA-D34C-9A73-CAAAB26112A2}"/>
              </a:ext>
            </a:extLst>
          </p:cNvPr>
          <p:cNvSpPr txBox="1">
            <a:spLocks/>
          </p:cNvSpPr>
          <p:nvPr/>
        </p:nvSpPr>
        <p:spPr>
          <a:xfrm>
            <a:off x="2085258" y="3228874"/>
            <a:ext cx="491502" cy="491502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rgbClr val="A7A7A7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828801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chemeClr val="tx2"/>
              </a:buClr>
              <a:buFont typeface="Scandinavian New" panose="02000503040000020004" pitchFamily="50" charset="0"/>
              <a:buNone/>
              <a:defRPr sz="4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ctr" defTabSz="1828801" rtl="0" eaLnBrk="1" latinLnBrk="0" hangingPunct="1">
              <a:lnSpc>
                <a:spcPct val="90000"/>
              </a:lnSpc>
              <a:spcBef>
                <a:spcPts val="751"/>
              </a:spcBef>
              <a:spcAft>
                <a:spcPts val="751"/>
              </a:spcAft>
              <a:buClr>
                <a:schemeClr val="tx2"/>
              </a:buClr>
              <a:buFont typeface="Scandinavian New Black" panose="02000503040000020004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indent="-236538" algn="l" defTabSz="182880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1828801" rtl="0" eaLnBrk="1" latinLnBrk="0" hangingPunct="1">
              <a:lnSpc>
                <a:spcPct val="90000"/>
              </a:lnSpc>
              <a:spcBef>
                <a:spcPts val="551"/>
              </a:spcBef>
              <a:spcAft>
                <a:spcPts val="5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6463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7200" indent="-2304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27125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41438" indent="-198438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77975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sv-SE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71CA1AB-9655-B51C-E083-CCEEA43A29E4}"/>
              </a:ext>
            </a:extLst>
          </p:cNvPr>
          <p:cNvSpPr txBox="1">
            <a:spLocks/>
          </p:cNvSpPr>
          <p:nvPr/>
        </p:nvSpPr>
        <p:spPr>
          <a:xfrm>
            <a:off x="2085258" y="3979047"/>
            <a:ext cx="491502" cy="491502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rgbClr val="CAA977"/>
          </a:solidFill>
        </p:spPr>
        <p:txBody>
          <a:bodyPr vert="horz" wrap="square" lIns="0" tIns="0" rIns="0" bIns="0" rtlCol="0" anchor="ctr">
            <a:noAutofit/>
          </a:bodyPr>
          <a:lstStyle>
            <a:defPPr>
              <a:defRPr lang="sv-SE"/>
            </a:defPPr>
            <a:lvl1pPr indent="0" algn="ctr" defTabSz="182880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candinavian New" panose="02000503040000020004" pitchFamily="50" charset="0"/>
              <a:buNone/>
              <a:defRPr sz="2401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lvl="1" indent="0" algn="ctr" defTabSz="1828801">
              <a:lnSpc>
                <a:spcPct val="90000"/>
              </a:lnSpc>
              <a:spcBef>
                <a:spcPts val="751"/>
              </a:spcBef>
              <a:spcAft>
                <a:spcPts val="751"/>
              </a:spcAft>
              <a:buClr>
                <a:schemeClr val="tx2"/>
              </a:buClr>
              <a:buFont typeface="Scandinavian New Black" panose="02000503040000020004" pitchFamily="50" charset="0"/>
              <a:buNone/>
              <a:defRPr sz="1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-236538" defTabSz="182880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200"/>
            </a:lvl3pPr>
            <a:lvl4pPr marL="685800" indent="-228600" defTabSz="1828801">
              <a:lnSpc>
                <a:spcPct val="90000"/>
              </a:lnSpc>
              <a:spcBef>
                <a:spcPts val="551"/>
              </a:spcBef>
              <a:spcAft>
                <a:spcPts val="5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2000"/>
            </a:lvl4pPr>
            <a:lvl5pPr marL="906463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5pPr>
            <a:lvl6pPr marL="907200" indent="-2304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1600" i="1"/>
            </a:lvl6pPr>
            <a:lvl7pPr marL="112712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7pPr>
            <a:lvl8pPr marL="1341438" indent="-198438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8pPr>
            <a:lvl9pPr marL="157797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pPr lvl="1"/>
            <a:r>
              <a:rPr lang="sv-SE" dirty="0"/>
              <a:t>G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C5070BB-99E3-12DE-3067-F486A47DC54A}"/>
              </a:ext>
            </a:extLst>
          </p:cNvPr>
          <p:cNvSpPr txBox="1">
            <a:spLocks/>
          </p:cNvSpPr>
          <p:nvPr/>
        </p:nvSpPr>
        <p:spPr>
          <a:xfrm>
            <a:off x="2085258" y="4729220"/>
            <a:ext cx="491502" cy="491502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rgbClr val="535353"/>
          </a:solidFill>
        </p:spPr>
        <p:txBody>
          <a:bodyPr vert="horz" wrap="square" lIns="0" tIns="0" rIns="0" bIns="0" rtlCol="0" anchor="ctr">
            <a:noAutofit/>
          </a:bodyPr>
          <a:lstStyle>
            <a:defPPr>
              <a:defRPr lang="sv-SE"/>
            </a:defPPr>
            <a:lvl1pPr indent="0" algn="ctr" defTabSz="182880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candinavian New" panose="02000503040000020004" pitchFamily="50" charset="0"/>
              <a:buNone/>
              <a:defRPr sz="2401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lvl="1" indent="0" algn="ctr" defTabSz="1828801">
              <a:lnSpc>
                <a:spcPct val="90000"/>
              </a:lnSpc>
              <a:spcBef>
                <a:spcPts val="751"/>
              </a:spcBef>
              <a:spcAft>
                <a:spcPts val="751"/>
              </a:spcAft>
              <a:buClr>
                <a:schemeClr val="tx2"/>
              </a:buClr>
              <a:buFont typeface="Scandinavian New Black" panose="02000503040000020004" pitchFamily="50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-236538" defTabSz="182880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200"/>
            </a:lvl3pPr>
            <a:lvl4pPr marL="685800" indent="-228600" defTabSz="1828801">
              <a:lnSpc>
                <a:spcPct val="90000"/>
              </a:lnSpc>
              <a:spcBef>
                <a:spcPts val="551"/>
              </a:spcBef>
              <a:spcAft>
                <a:spcPts val="5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2000"/>
            </a:lvl4pPr>
            <a:lvl5pPr marL="906463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5pPr>
            <a:lvl6pPr marL="907200" indent="-2304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1600" i="1"/>
            </a:lvl6pPr>
            <a:lvl7pPr marL="112712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7pPr>
            <a:lvl8pPr marL="1341438" indent="-198438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8pPr>
            <a:lvl9pPr marL="157797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pPr lvl="1"/>
            <a:r>
              <a:rPr lang="sv-SE" dirty="0"/>
              <a:t>D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0E537C3-D8DC-A072-5FD7-AB096EDDB796}"/>
              </a:ext>
            </a:extLst>
          </p:cNvPr>
          <p:cNvSpPr txBox="1">
            <a:spLocks/>
          </p:cNvSpPr>
          <p:nvPr/>
        </p:nvSpPr>
        <p:spPr>
          <a:xfrm>
            <a:off x="2085258" y="5479392"/>
            <a:ext cx="491502" cy="491502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tx1">
              <a:lumMod val="50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defPPr>
              <a:defRPr lang="sv-SE"/>
            </a:defPPr>
            <a:lvl1pPr indent="0" algn="ctr" defTabSz="182880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candinavian New" panose="02000503040000020004" pitchFamily="50" charset="0"/>
              <a:buNone/>
              <a:defRPr sz="2401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lvl="1" indent="0" algn="ctr" defTabSz="1828801">
              <a:lnSpc>
                <a:spcPct val="90000"/>
              </a:lnSpc>
              <a:spcBef>
                <a:spcPts val="751"/>
              </a:spcBef>
              <a:spcAft>
                <a:spcPts val="751"/>
              </a:spcAft>
              <a:buClr>
                <a:schemeClr val="tx2"/>
              </a:buClr>
              <a:buFont typeface="Scandinavian New Black" panose="02000503040000020004" pitchFamily="50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-236538" defTabSz="182880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200"/>
            </a:lvl3pPr>
            <a:lvl4pPr marL="685800" indent="-228600" defTabSz="1828801">
              <a:lnSpc>
                <a:spcPct val="90000"/>
              </a:lnSpc>
              <a:spcBef>
                <a:spcPts val="551"/>
              </a:spcBef>
              <a:spcAft>
                <a:spcPts val="5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2000"/>
            </a:lvl4pPr>
            <a:lvl5pPr marL="906463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5pPr>
            <a:lvl6pPr marL="907200" indent="-2304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1600" i="1"/>
            </a:lvl6pPr>
            <a:lvl7pPr marL="112712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7pPr>
            <a:lvl8pPr marL="1341438" indent="-198438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8pPr>
            <a:lvl9pPr marL="1577975" indent="-228600" defTabSz="182880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pPr lvl="1"/>
            <a:r>
              <a:rPr lang="sv-SE" dirty="0"/>
              <a:t>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03A592-DB57-544F-8404-71974C55A631}"/>
              </a:ext>
            </a:extLst>
          </p:cNvPr>
          <p:cNvSpPr txBox="1"/>
          <p:nvPr/>
        </p:nvSpPr>
        <p:spPr>
          <a:xfrm>
            <a:off x="9276924" y="3345964"/>
            <a:ext cx="903086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003F7C"/>
                </a:solidFill>
              </a:rPr>
              <a:t>Elit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62B799-2B62-91FC-3805-577F0282CDC4}"/>
              </a:ext>
            </a:extLst>
          </p:cNvPr>
          <p:cNvSpPr txBox="1"/>
          <p:nvPr/>
        </p:nvSpPr>
        <p:spPr>
          <a:xfrm>
            <a:off x="9276924" y="4777524"/>
            <a:ext cx="903086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003F7C"/>
                </a:solidFill>
              </a:rPr>
              <a:t>Elite</a:t>
            </a:r>
            <a:br>
              <a:rPr lang="en-US" sz="1600" b="1" dirty="0">
                <a:solidFill>
                  <a:srgbClr val="003F7C"/>
                </a:solidFill>
              </a:rPr>
            </a:br>
            <a:r>
              <a:rPr lang="en-US" sz="1600" b="1" dirty="0">
                <a:solidFill>
                  <a:srgbClr val="003F7C"/>
                </a:solidFill>
              </a:rPr>
              <a:t>Plus</a:t>
            </a:r>
          </a:p>
        </p:txBody>
      </p:sp>
      <p:pic>
        <p:nvPicPr>
          <p:cNvPr id="24" name="Picture 10" descr="Star Alliance Logo and symbol, meaning, history, PNG, brand">
            <a:extLst>
              <a:ext uri="{FF2B5EF4-FFF2-40B4-BE49-F238E27FC236}">
                <a16:creationId xmlns:a16="http://schemas.microsoft.com/office/drawing/2014/main" id="{558419D6-5165-B826-08D0-B4352E0C5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18" b="33332"/>
          <a:stretch/>
        </p:blipFill>
        <p:spPr bwMode="auto">
          <a:xfrm>
            <a:off x="4875751" y="1726634"/>
            <a:ext cx="2421222" cy="480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Gold">
            <a:extLst>
              <a:ext uri="{FF2B5EF4-FFF2-40B4-BE49-F238E27FC236}">
                <a16:creationId xmlns:a16="http://schemas.microsoft.com/office/drawing/2014/main" id="{F3C83034-2F05-C086-6055-7548BF153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914" y="4756774"/>
            <a:ext cx="1366897" cy="47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Silver">
            <a:extLst>
              <a:ext uri="{FF2B5EF4-FFF2-40B4-BE49-F238E27FC236}">
                <a16:creationId xmlns:a16="http://schemas.microsoft.com/office/drawing/2014/main" id="{63229011-4978-DB74-5CB2-CC7380B1B8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914" y="3219926"/>
            <a:ext cx="1366897" cy="473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E196845A-1D2D-D361-5830-DA438765B014}"/>
              </a:ext>
            </a:extLst>
          </p:cNvPr>
          <p:cNvSpPr txBox="1">
            <a:spLocks/>
          </p:cNvSpPr>
          <p:nvPr/>
        </p:nvSpPr>
        <p:spPr>
          <a:xfrm>
            <a:off x="2085258" y="2478701"/>
            <a:ext cx="491502" cy="491502"/>
          </a:xfrm>
          <a:custGeom>
            <a:avLst/>
            <a:gdLst>
              <a:gd name="connsiteX0" fmla="*/ 1784959 w 3569918"/>
              <a:gd name="connsiteY0" fmla="*/ 0 h 3569918"/>
              <a:gd name="connsiteX1" fmla="*/ 3569918 w 3569918"/>
              <a:gd name="connsiteY1" fmla="*/ 1784959 h 3569918"/>
              <a:gd name="connsiteX2" fmla="*/ 1784959 w 3569918"/>
              <a:gd name="connsiteY2" fmla="*/ 3569918 h 3569918"/>
              <a:gd name="connsiteX3" fmla="*/ 0 w 3569918"/>
              <a:gd name="connsiteY3" fmla="*/ 1784959 h 3569918"/>
              <a:gd name="connsiteX4" fmla="*/ 1784959 w 3569918"/>
              <a:gd name="connsiteY4" fmla="*/ 0 h 356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918" h="3569918">
                <a:moveTo>
                  <a:pt x="1784959" y="0"/>
                </a:moveTo>
                <a:cubicBezTo>
                  <a:pt x="2770765" y="0"/>
                  <a:pt x="3569918" y="799153"/>
                  <a:pt x="3569918" y="1784959"/>
                </a:cubicBezTo>
                <a:cubicBezTo>
                  <a:pt x="3569918" y="2770765"/>
                  <a:pt x="2770765" y="3569918"/>
                  <a:pt x="1784959" y="3569918"/>
                </a:cubicBezTo>
                <a:cubicBezTo>
                  <a:pt x="799153" y="3569918"/>
                  <a:pt x="0" y="2770765"/>
                  <a:pt x="0" y="1784959"/>
                </a:cubicBezTo>
                <a:cubicBezTo>
                  <a:pt x="0" y="799153"/>
                  <a:pt x="799153" y="0"/>
                  <a:pt x="178495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828801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chemeClr val="tx2"/>
              </a:buClr>
              <a:buFont typeface="Scandinavian New" panose="02000503040000020004" pitchFamily="50" charset="0"/>
              <a:buNone/>
              <a:defRPr sz="4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ctr" defTabSz="1828801" rtl="0" eaLnBrk="1" latinLnBrk="0" hangingPunct="1">
              <a:lnSpc>
                <a:spcPct val="90000"/>
              </a:lnSpc>
              <a:spcBef>
                <a:spcPts val="751"/>
              </a:spcBef>
              <a:spcAft>
                <a:spcPts val="751"/>
              </a:spcAft>
              <a:buClr>
                <a:schemeClr val="tx2"/>
              </a:buClr>
              <a:buFont typeface="Scandinavian New Black" panose="02000503040000020004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indent="-236538" algn="l" defTabSz="182880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1828801" rtl="0" eaLnBrk="1" latinLnBrk="0" hangingPunct="1">
              <a:lnSpc>
                <a:spcPct val="90000"/>
              </a:lnSpc>
              <a:spcBef>
                <a:spcPts val="551"/>
              </a:spcBef>
              <a:spcAft>
                <a:spcPts val="5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6463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7200" indent="-2304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Scandinavian New Black" panose="02000503040000020004" pitchFamily="50" charset="0"/>
              <a:buChar char="›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27125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41438" indent="-198438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77975" indent="-228600" algn="l" defTabSz="1828801" rtl="0" eaLnBrk="1" latinLnBrk="0" hangingPunct="1">
              <a:lnSpc>
                <a:spcPct val="90000"/>
              </a:lnSpc>
              <a:spcBef>
                <a:spcPts val="451"/>
              </a:spcBef>
              <a:spcAft>
                <a:spcPts val="451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sv-SE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03BC4F-F595-CC5A-0DD8-C1B8CD7C4223}"/>
              </a:ext>
            </a:extLst>
          </p:cNvPr>
          <p:cNvSpPr/>
          <p:nvPr/>
        </p:nvSpPr>
        <p:spPr>
          <a:xfrm>
            <a:off x="5101126" y="1452459"/>
            <a:ext cx="1813480" cy="25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000" tIns="378000" rIns="378000" bIns="378000" rtlCol="0" anchor="ctr"/>
          <a:lstStyle/>
          <a:p>
            <a:pPr algn="ctr">
              <a:lnSpc>
                <a:spcPct val="90000"/>
              </a:lnSpc>
            </a:pPr>
            <a:r>
              <a:rPr lang="sv-SE" sz="1200" dirty="0" err="1">
                <a:solidFill>
                  <a:schemeClr val="tx1"/>
                </a:solidFill>
              </a:rPr>
              <a:t>Until</a:t>
            </a:r>
            <a:r>
              <a:rPr lang="sv-SE" sz="1200" dirty="0">
                <a:solidFill>
                  <a:schemeClr val="tx1"/>
                </a:solidFill>
              </a:rPr>
              <a:t> 31 Augus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A71530-AF10-F997-655F-A9AE2C19C509}"/>
              </a:ext>
            </a:extLst>
          </p:cNvPr>
          <p:cNvSpPr/>
          <p:nvPr/>
        </p:nvSpPr>
        <p:spPr>
          <a:xfrm>
            <a:off x="8623471" y="1452459"/>
            <a:ext cx="2209992" cy="25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000" tIns="378000" rIns="378000" bIns="378000" rtlCol="0" anchor="ctr"/>
          <a:lstStyle/>
          <a:p>
            <a:pPr algn="ctr">
              <a:lnSpc>
                <a:spcPct val="90000"/>
              </a:lnSpc>
            </a:pPr>
            <a:r>
              <a:rPr lang="sv-SE" sz="1200" dirty="0">
                <a:solidFill>
                  <a:schemeClr val="tx1"/>
                </a:solidFill>
              </a:rPr>
              <a:t>From 1 September</a:t>
            </a:r>
          </a:p>
        </p:txBody>
      </p:sp>
      <p:pic>
        <p:nvPicPr>
          <p:cNvPr id="15" name="Picture 26">
            <a:extLst>
              <a:ext uri="{FF2B5EF4-FFF2-40B4-BE49-F238E27FC236}">
                <a16:creationId xmlns:a16="http://schemas.microsoft.com/office/drawing/2014/main" id="{BF207CA1-CBD7-AA7B-B37E-87E512C56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5886" y="1711089"/>
            <a:ext cx="585162" cy="5851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0561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BD780FD-5A7A-2BC7-A62D-194236854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729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D780FD-5A7A-2BC7-A62D-194236854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BAD243B9-8D22-E344-2FF1-73019A98E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042" y="636089"/>
            <a:ext cx="10702517" cy="480261"/>
          </a:xfrm>
        </p:spPr>
        <p:txBody>
          <a:bodyPr vert="horz"/>
          <a:lstStyle/>
          <a:p>
            <a:r>
              <a:rPr lang="sv-SE" dirty="0" err="1"/>
              <a:t>Overview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key</a:t>
            </a:r>
            <a:r>
              <a:rPr lang="sv-SE" dirty="0"/>
              <a:t> benefit </a:t>
            </a:r>
            <a:r>
              <a:rPr lang="sv-SE" dirty="0" err="1"/>
              <a:t>changes</a:t>
            </a:r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2FCF7E-9731-FC6F-4AFD-4D3107A5D43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7D81137-E44E-4038-B287-767483FD80B1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12" name="Table 9">
            <a:extLst>
              <a:ext uri="{FF2B5EF4-FFF2-40B4-BE49-F238E27FC236}">
                <a16:creationId xmlns:a16="http://schemas.microsoft.com/office/drawing/2014/main" id="{5E592EFE-1E8C-7F2E-CD8F-45129749F0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351562"/>
              </p:ext>
            </p:extLst>
          </p:nvPr>
        </p:nvGraphicFramePr>
        <p:xfrm>
          <a:off x="697852" y="1306722"/>
          <a:ext cx="10832297" cy="4953330"/>
        </p:xfrm>
        <a:graphic>
          <a:graphicData uri="http://schemas.openxmlformats.org/drawingml/2006/table">
            <a:tbl>
              <a:tblPr firstRow="1" bandRow="1">
                <a:tableStyleId>{EBC91A5C-2460-4EA5-BDA4-7DDF64713C32}</a:tableStyleId>
              </a:tblPr>
              <a:tblGrid>
                <a:gridCol w="323117">
                  <a:extLst>
                    <a:ext uri="{9D8B030D-6E8A-4147-A177-3AD203B41FA5}">
                      <a16:colId xmlns:a16="http://schemas.microsoft.com/office/drawing/2014/main" val="3147540464"/>
                    </a:ext>
                  </a:extLst>
                </a:gridCol>
                <a:gridCol w="2462761">
                  <a:extLst>
                    <a:ext uri="{9D8B030D-6E8A-4147-A177-3AD203B41FA5}">
                      <a16:colId xmlns:a16="http://schemas.microsoft.com/office/drawing/2014/main" val="3052678434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27186326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4103561015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2896884346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2079761798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1780049627"/>
                    </a:ext>
                  </a:extLst>
                </a:gridCol>
                <a:gridCol w="408016">
                  <a:extLst>
                    <a:ext uri="{9D8B030D-6E8A-4147-A177-3AD203B41FA5}">
                      <a16:colId xmlns:a16="http://schemas.microsoft.com/office/drawing/2014/main" val="185509125"/>
                    </a:ext>
                  </a:extLst>
                </a:gridCol>
                <a:gridCol w="5598323">
                  <a:extLst>
                    <a:ext uri="{9D8B030D-6E8A-4147-A177-3AD203B41FA5}">
                      <a16:colId xmlns:a16="http://schemas.microsoft.com/office/drawing/2014/main" val="922056566"/>
                    </a:ext>
                  </a:extLst>
                </a:gridCol>
              </a:tblGrid>
              <a:tr h="309642">
                <a:tc>
                  <a:txBody>
                    <a:bodyPr/>
                    <a:lstStyle/>
                    <a:p>
                      <a:endParaRPr lang="sv-SE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BS</a:t>
                      </a:r>
                      <a:endParaRPr lang="sv-SE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BG</a:t>
                      </a:r>
                      <a:endParaRPr lang="sv-SE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BD</a:t>
                      </a:r>
                      <a:endParaRPr lang="sv-SE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BP</a:t>
                      </a:r>
                      <a:endParaRPr lang="sv-SE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0" algn="ctr" defTabSz="914766" rtl="0" eaLnBrk="1" fontAlgn="b" latinLnBrk="0" hangingPunct="1"/>
                      <a:r>
                        <a:rPr lang="sv-SE" sz="8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te</a:t>
                      </a:r>
                      <a:endParaRPr lang="sv-SE" sz="8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0" algn="ctr" defTabSz="914766" rtl="0" eaLnBrk="1" fontAlgn="b" latinLnBrk="0" hangingPunct="1"/>
                      <a:r>
                        <a:rPr lang="sv-SE" sz="8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lus</a:t>
                      </a: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182563" indent="0" algn="l" defTabSz="914766" rtl="0" eaLnBrk="1" fontAlgn="b" latinLnBrk="0" hangingPunct="1"/>
                      <a:r>
                        <a:rPr lang="sv-SE" sz="8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  <a:r>
                        <a:rPr lang="sv-SE" sz="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sv-SE" sz="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s</a:t>
                      </a:r>
                      <a:endParaRPr lang="sv-SE" sz="8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08074068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iority on airport standby list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day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EB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r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a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ar Alliance Gold or Silver (EBP&gt;EBD&gt;EBG&gt;SAG&gt;EBS&gt;SAS)</a:t>
                      </a:r>
                    </a:p>
                    <a:p>
                      <a:pPr marL="87313" indent="0"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from 1 sep: no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inctio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oBonus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yTeam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it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it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lus (EBP&gt;EBD&gt;EBG+STEP&gt;EBS+STE)</a:t>
                      </a: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141612378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2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iority</a:t>
                      </a:r>
                      <a:r>
                        <a:rPr lang="sv-SE" sz="900" dirty="0"/>
                        <a:t> on reservation </a:t>
                      </a:r>
                      <a:r>
                        <a:rPr lang="sv-SE" sz="900" dirty="0" err="1"/>
                        <a:t>waitlist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day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EB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r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a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ar Alliance Gold or Silver (EBP&gt;EBD&gt;EBG&gt;SAG&gt;EBS&gt;SAS)</a:t>
                      </a:r>
                    </a:p>
                    <a:p>
                      <a:pPr marL="87313" indent="0"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from 1 sep: no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inctio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oBonus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yTeam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it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sv-S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ite</a:t>
                      </a:r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lus (EBP&gt;EBD&gt;EBG+STEP&gt;EBS+STE)</a:t>
                      </a: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1947192449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3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Guaranteed</a:t>
                      </a:r>
                      <a:r>
                        <a:rPr lang="sv-SE" sz="900" dirty="0"/>
                        <a:t> Y-</a:t>
                      </a:r>
                      <a:r>
                        <a:rPr lang="sv-SE" sz="900" dirty="0" err="1"/>
                        <a:t>class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seat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ten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enefit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lus (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ot a Star Alliance benefit)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th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ew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uaranteed full fare economy class (E-class) booking on long haul international flights of 6 hours or more, which are sold out in economy class, when booked at least 24 hours before departure. This is on top of current EB rule for C-class guaranteed seat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4101991829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4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/>
                        <a:t>Lounge </a:t>
                      </a:r>
                      <a:r>
                        <a:rPr lang="sv-SE" sz="900" dirty="0" err="1"/>
                        <a:t>entry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for EBG/D/P: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n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ing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1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ravel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panion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r 4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mil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mber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sng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o</a:t>
                      </a:r>
                      <a:r>
                        <a:rPr lang="sv-SE" sz="800" b="0" i="0" u="sng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o not </a:t>
                      </a:r>
                      <a:r>
                        <a:rPr lang="sv-SE" sz="800" b="0" i="0" u="sng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ve</a:t>
                      </a:r>
                      <a:r>
                        <a:rPr lang="sv-SE" sz="800" b="0" i="0" u="sng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be on the same flight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oweve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n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fligh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parting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he same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for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lus: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n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ing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1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panion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sng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nl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o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o no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v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be on the same flight,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oweve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n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fligh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parting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he same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nl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n an 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n any </a:t>
                      </a:r>
                      <a:r>
                        <a:rPr lang="en-US" sz="800" b="0" i="0" u="sng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rnational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kyTeam flight (or during a layover that includes one  international segment)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79698591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5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/>
                        <a:t>Extra </a:t>
                      </a:r>
                      <a:r>
                        <a:rPr lang="sv-SE" sz="900" dirty="0" err="1"/>
                        <a:t>baggage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allowance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benefi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tende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mber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on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p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lus)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o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get 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ne extra piece of check-in luggage 23kg when flying on SAS. Exception when flying on SK Go Light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779197765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6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iority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baggage</a:t>
                      </a:r>
                      <a:r>
                        <a:rPr lang="sv-SE" sz="900" dirty="0"/>
                        <a:t> handling (</a:t>
                      </a:r>
                      <a:r>
                        <a:rPr lang="sv-SE" sz="900" dirty="0" err="1"/>
                        <a:t>SkyPriority</a:t>
                      </a:r>
                      <a:r>
                        <a:rPr lang="sv-SE" sz="900" dirty="0"/>
                        <a:t>) - </a:t>
                      </a:r>
                      <a:r>
                        <a:rPr lang="sv-SE" sz="900" dirty="0" err="1"/>
                        <a:t>baggage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first</a:t>
                      </a:r>
                      <a:r>
                        <a:rPr lang="sv-SE" sz="900" dirty="0"/>
                        <a:t> on </a:t>
                      </a:r>
                      <a:r>
                        <a:rPr lang="sv-SE" sz="900" dirty="0" err="1"/>
                        <a:t>belt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593221272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7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iority</a:t>
                      </a:r>
                      <a:r>
                        <a:rPr lang="sv-SE" sz="900" dirty="0"/>
                        <a:t> Check-in (</a:t>
                      </a:r>
                      <a:r>
                        <a:rPr lang="sv-SE" sz="900" dirty="0" err="1"/>
                        <a:t>SkyPriority</a:t>
                      </a:r>
                      <a:r>
                        <a:rPr lang="sv-SE" sz="900" dirty="0"/>
                        <a:t>)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benefi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tende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mber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on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p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lus)</a:t>
                      </a: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313759886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8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iority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Boarding</a:t>
                      </a:r>
                      <a:r>
                        <a:rPr lang="sv-SE" sz="900" dirty="0"/>
                        <a:t> (</a:t>
                      </a:r>
                      <a:r>
                        <a:rPr lang="sv-SE" sz="900" dirty="0" err="1"/>
                        <a:t>SkyPriority</a:t>
                      </a:r>
                      <a:r>
                        <a:rPr lang="sv-SE" sz="900" dirty="0"/>
                        <a:t>)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benefi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tende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EB Silver and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o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ll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oard as par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Group 3 (Group 4+ for res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AS Go)</a:t>
                      </a: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009789538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9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iority at ticket offices (</a:t>
                      </a:r>
                      <a:r>
                        <a:rPr lang="en-US" sz="900" dirty="0" err="1"/>
                        <a:t>SkyPriority</a:t>
                      </a:r>
                      <a:r>
                        <a:rPr lang="en-US" sz="900" dirty="0"/>
                        <a:t>)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 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marR="0" lvl="0" indent="0" algn="l" defTabSz="9147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1342317305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0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iority</a:t>
                      </a:r>
                      <a:r>
                        <a:rPr lang="sv-SE" sz="900" dirty="0"/>
                        <a:t> at transfer desks (</a:t>
                      </a:r>
                      <a:r>
                        <a:rPr lang="sv-SE" sz="900" dirty="0" err="1"/>
                        <a:t>SkyPriority</a:t>
                      </a:r>
                      <a:r>
                        <a:rPr lang="sv-SE" sz="900" dirty="0"/>
                        <a:t>)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 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marR="0" lvl="0" indent="0" algn="l" defTabSz="9147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440670313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1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iority at immigration and security lines (</a:t>
                      </a:r>
                      <a:r>
                        <a:rPr lang="en-US" sz="900" dirty="0" err="1"/>
                        <a:t>SkyPriority</a:t>
                      </a:r>
                      <a:r>
                        <a:rPr lang="en-US" sz="900" dirty="0"/>
                        <a:t>)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 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 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marR="0" lvl="0" indent="0" algn="l" defTabSz="9147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1453970533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2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Preferred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seating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benefit is no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fine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for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nd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u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EB Silver, n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ge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for flights on SAS</a:t>
                      </a:r>
                    </a:p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benefit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tended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kyTeam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itePlus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o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ll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njo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re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at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lection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n SAS (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EBG+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n SAS)</a:t>
                      </a: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4231213640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3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ccrual booster (see accrual)</a:t>
                      </a:r>
                      <a:endParaRPr lang="sv-SE" sz="900" dirty="0"/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 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 dirty="0">
                          <a:effectLst/>
                        </a:rPr>
                        <a:t> </a:t>
                      </a:r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indent="0" algn="l" defTabSz="914766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ew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int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ype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nd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ccrual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lides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64587793"/>
                  </a:ext>
                </a:extLst>
              </a:tr>
              <a:tr h="309642">
                <a:tc>
                  <a:txBody>
                    <a:bodyPr/>
                    <a:lstStyle/>
                    <a:p>
                      <a:r>
                        <a:rPr lang="sv-SE" sz="900" dirty="0"/>
                        <a:t>14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r>
                        <a:rPr lang="sv-SE" sz="900" dirty="0" err="1"/>
                        <a:t>Free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carry</a:t>
                      </a:r>
                      <a:r>
                        <a:rPr lang="sv-SE" sz="900" dirty="0"/>
                        <a:t>-on (Go </a:t>
                      </a:r>
                      <a:r>
                        <a:rPr lang="sv-SE" sz="900" dirty="0" err="1"/>
                        <a:t>Light</a:t>
                      </a:r>
                      <a:r>
                        <a:rPr lang="sv-SE" sz="900" dirty="0"/>
                        <a:t>)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u="none" strike="noStrike">
                          <a:effectLst/>
                        </a:rPr>
                        <a:t>x</a:t>
                      </a:r>
                      <a:endParaRPr lang="sv-SE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" marR="594" marT="594" marB="0" anchor="ctr"/>
                </a:tc>
                <a:tc>
                  <a:txBody>
                    <a:bodyPr/>
                    <a:lstStyle/>
                    <a:p>
                      <a:pPr marL="87313" marR="0" lvl="0" indent="0" algn="l" defTabSz="9147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milar</a:t>
                      </a:r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day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94" marR="594" marT="594" marB="0" anchor="ctr"/>
                </a:tc>
                <a:extLst>
                  <a:ext uri="{0D108BD9-81ED-4DB2-BD59-A6C34878D82A}">
                    <a16:rowId xmlns:a16="http://schemas.microsoft.com/office/drawing/2014/main" val="21724701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117AC7D4-324A-2BEC-2955-3C8FBFC9E6E4}"/>
              </a:ext>
            </a:extLst>
          </p:cNvPr>
          <p:cNvSpPr txBox="1"/>
          <p:nvPr/>
        </p:nvSpPr>
        <p:spPr>
          <a:xfrm>
            <a:off x="1154380" y="6507784"/>
            <a:ext cx="757160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sv-SE" sz="1050" dirty="0"/>
              <a:t>Note: all </a:t>
            </a:r>
            <a:r>
              <a:rPr lang="sv-SE" sz="1050" dirty="0" err="1"/>
              <a:t>other</a:t>
            </a:r>
            <a:r>
              <a:rPr lang="sv-SE" sz="1050" dirty="0"/>
              <a:t> </a:t>
            </a:r>
            <a:r>
              <a:rPr lang="sv-SE" sz="1050" dirty="0" err="1"/>
              <a:t>benefits</a:t>
            </a:r>
            <a:r>
              <a:rPr lang="sv-SE" sz="1050" dirty="0"/>
              <a:t> </a:t>
            </a:r>
            <a:r>
              <a:rPr lang="sv-SE" sz="1050" dirty="0" err="1"/>
              <a:t>that</a:t>
            </a:r>
            <a:r>
              <a:rPr lang="sv-SE" sz="1050" dirty="0"/>
              <a:t> </a:t>
            </a:r>
            <a:r>
              <a:rPr lang="sv-SE" sz="1050" dirty="0" err="1"/>
              <a:t>are</a:t>
            </a:r>
            <a:r>
              <a:rPr lang="sv-SE" sz="1050" dirty="0"/>
              <a:t> not </a:t>
            </a:r>
            <a:r>
              <a:rPr lang="sv-SE" sz="1050" dirty="0" err="1"/>
              <a:t>mentioned</a:t>
            </a:r>
            <a:r>
              <a:rPr lang="sv-SE" sz="1050" dirty="0"/>
              <a:t> </a:t>
            </a:r>
            <a:r>
              <a:rPr lang="sv-SE" sz="1050" dirty="0" err="1"/>
              <a:t>remain</a:t>
            </a:r>
            <a:r>
              <a:rPr lang="sv-SE" sz="1050" dirty="0"/>
              <a:t> </a:t>
            </a:r>
            <a:r>
              <a:rPr lang="sv-SE" sz="1050" dirty="0" err="1"/>
              <a:t>unchainged</a:t>
            </a:r>
            <a:endParaRPr lang="sv-SE" sz="1050" dirty="0"/>
          </a:p>
        </p:txBody>
      </p:sp>
    </p:spTree>
    <p:extLst>
      <p:ext uri="{BB962C8B-B14F-4D97-AF65-F5344CB8AC3E}">
        <p14:creationId xmlns:p14="http://schemas.microsoft.com/office/powerpoint/2010/main" val="1091540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andinavian Airlines">
  <a:themeElements>
    <a:clrScheme name="SAS 2023">
      <a:dk1>
        <a:srgbClr val="393939"/>
      </a:dk1>
      <a:lt1>
        <a:sysClr val="window" lastClr="FFFFFF"/>
      </a:lt1>
      <a:dk2>
        <a:srgbClr val="000099"/>
      </a:dk2>
      <a:lt2>
        <a:srgbClr val="E2F0F7"/>
      </a:lt2>
      <a:accent1>
        <a:srgbClr val="C2E5F5"/>
      </a:accent1>
      <a:accent2>
        <a:srgbClr val="000066"/>
      </a:accent2>
      <a:accent3>
        <a:srgbClr val="FAE1C3"/>
      </a:accent3>
      <a:accent4>
        <a:srgbClr val="003DF0"/>
      </a:accent4>
      <a:accent5>
        <a:srgbClr val="FF8273"/>
      </a:accent5>
      <a:accent6>
        <a:srgbClr val="727272"/>
      </a:accent6>
      <a:hlink>
        <a:srgbClr val="FF8273"/>
      </a:hlink>
      <a:folHlink>
        <a:srgbClr val="FF8273"/>
      </a:folHlink>
    </a:clrScheme>
    <a:fontScheme name="SAS -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378000" tIns="378000" rIns="378000" bIns="378000" rtlCol="0" anchor="ctr"/>
      <a:lstStyle>
        <a:defPPr algn="ctr">
          <a:lnSpc>
            <a:spcPct val="90000"/>
          </a:lnSpc>
          <a:defRPr sz="3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defRPr sz="30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AS_template_arial_v3.potx" id="{0EDD6D9E-4B23-43A7-8721-4B1902E18024}" vid="{EECEB934-E060-4868-B8F4-ACB04FCACECC}"/>
    </a:ext>
  </a:extLst>
</a:theme>
</file>

<file path=ppt/theme/theme2.xml><?xml version="1.0" encoding="utf-8"?>
<a:theme xmlns:a="http://schemas.openxmlformats.org/drawingml/2006/main" name="Office-tema">
  <a:themeElements>
    <a:clrScheme name="SAS 2023">
      <a:dk1>
        <a:srgbClr val="393939"/>
      </a:dk1>
      <a:lt1>
        <a:sysClr val="window" lastClr="FFFFFF"/>
      </a:lt1>
      <a:dk2>
        <a:srgbClr val="000099"/>
      </a:dk2>
      <a:lt2>
        <a:srgbClr val="E2F0F7"/>
      </a:lt2>
      <a:accent1>
        <a:srgbClr val="C2E5F5"/>
      </a:accent1>
      <a:accent2>
        <a:srgbClr val="000066"/>
      </a:accent2>
      <a:accent3>
        <a:srgbClr val="FAE1C3"/>
      </a:accent3>
      <a:accent4>
        <a:srgbClr val="003DF0"/>
      </a:accent4>
      <a:accent5>
        <a:srgbClr val="FF8273"/>
      </a:accent5>
      <a:accent6>
        <a:srgbClr val="727272"/>
      </a:accent6>
      <a:hlink>
        <a:srgbClr val="FF8273"/>
      </a:hlink>
      <a:folHlink>
        <a:srgbClr val="FF8273"/>
      </a:folHlink>
    </a:clrScheme>
    <a:fontScheme name="SAS 2023">
      <a:majorFont>
        <a:latin typeface="Scandinavian New Black"/>
        <a:ea typeface=""/>
        <a:cs typeface=""/>
      </a:majorFont>
      <a:minorFont>
        <a:latin typeface="Scandinavian Ne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AS 2023">
      <a:dk1>
        <a:srgbClr val="393939"/>
      </a:dk1>
      <a:lt1>
        <a:sysClr val="window" lastClr="FFFFFF"/>
      </a:lt1>
      <a:dk2>
        <a:srgbClr val="000099"/>
      </a:dk2>
      <a:lt2>
        <a:srgbClr val="E2F0F7"/>
      </a:lt2>
      <a:accent1>
        <a:srgbClr val="C2E5F5"/>
      </a:accent1>
      <a:accent2>
        <a:srgbClr val="000066"/>
      </a:accent2>
      <a:accent3>
        <a:srgbClr val="FAE1C3"/>
      </a:accent3>
      <a:accent4>
        <a:srgbClr val="003DF0"/>
      </a:accent4>
      <a:accent5>
        <a:srgbClr val="FF8273"/>
      </a:accent5>
      <a:accent6>
        <a:srgbClr val="727272"/>
      </a:accent6>
      <a:hlink>
        <a:srgbClr val="FF8273"/>
      </a:hlink>
      <a:folHlink>
        <a:srgbClr val="FF8273"/>
      </a:folHlink>
    </a:clrScheme>
    <a:fontScheme name="SAS 2023">
      <a:majorFont>
        <a:latin typeface="Scandinavian New Black"/>
        <a:ea typeface=""/>
        <a:cs typeface=""/>
      </a:majorFont>
      <a:minorFont>
        <a:latin typeface="Scandinavian Ne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78a973e-c427-43b6-a967-0d07677b5799" xsi:nil="true"/>
    <lcf76f155ced4ddcb4097134ff3c332f xmlns="527c365f-eab7-46fe-8709-faf8bf16a48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308BD5494505429585970F124809FB" ma:contentTypeVersion="18" ma:contentTypeDescription="Create a new document." ma:contentTypeScope="" ma:versionID="2e5e435bee351848ab1b5f05318a37e1">
  <xsd:schema xmlns:xsd="http://www.w3.org/2001/XMLSchema" xmlns:xs="http://www.w3.org/2001/XMLSchema" xmlns:p="http://schemas.microsoft.com/office/2006/metadata/properties" xmlns:ns2="527c365f-eab7-46fe-8709-faf8bf16a483" xmlns:ns3="178a973e-c427-43b6-a967-0d07677b5799" targetNamespace="http://schemas.microsoft.com/office/2006/metadata/properties" ma:root="true" ma:fieldsID="ef135c435732dbd18b812dbde726e634" ns2:_="" ns3:_="">
    <xsd:import namespace="527c365f-eab7-46fe-8709-faf8bf16a483"/>
    <xsd:import namespace="178a973e-c427-43b6-a967-0d07677b57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_dlc_DocId" minOccurs="0"/>
                <xsd:element ref="ns3:_dlc_DocIdUrl" minOccurs="0"/>
                <xsd:element ref="ns3:_dlc_DocIdPersistId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7c365f-eab7-46fe-8709-faf8bf16a4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c80a3a9e-e8e9-4784-bc28-d148f006c6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8a973e-c427-43b6-a967-0d07677b57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1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6" nillable="true" ma:displayName="Taxonomy Catch All Column" ma:hidden="true" ma:list="{20d19bee-c3c2-492a-9126-5978f227fed6}" ma:internalName="TaxCatchAll" ma:showField="CatchAllData" ma:web="178a973e-c427-43b6-a967-0d07677b57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ABDA6A-1F6C-4B42-8544-08E5AE6AC91F}">
  <ds:schemaRefs>
    <ds:schemaRef ds:uri="http://schemas.microsoft.com/office/2006/metadata/properties"/>
    <ds:schemaRef ds:uri="http://purl.org/dc/dcmitype/"/>
    <ds:schemaRef ds:uri="699941bf-860b-4d4e-a015-1a022ca974e4"/>
    <ds:schemaRef ds:uri="http://schemas.microsoft.com/office/2006/documentManagement/types"/>
    <ds:schemaRef ds:uri="http://purl.org/dc/elements/1.1/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791f6b5d-d046-45dd-932e-26856775815f"/>
    <ds:schemaRef ds:uri="d7532cd0-e888-47d6-8f58-db0210f25002"/>
    <ds:schemaRef ds:uri="10c3a147-0d64-46aa-a281-dc97358e8373"/>
    <ds:schemaRef ds:uri="178a973e-c427-43b6-a967-0d07677b5799"/>
    <ds:schemaRef ds:uri="527c365f-eab7-46fe-8709-faf8bf16a483"/>
  </ds:schemaRefs>
</ds:datastoreItem>
</file>

<file path=customXml/itemProps2.xml><?xml version="1.0" encoding="utf-8"?>
<ds:datastoreItem xmlns:ds="http://schemas.openxmlformats.org/officeDocument/2006/customXml" ds:itemID="{9CEBAD6A-AFE5-46E0-9A90-AF4AB80FFB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E6BF79-FF29-43AC-8F94-98233372399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520C7CC-DAA1-48B7-AB03-AEA141A09A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7c365f-eab7-46fe-8709-faf8bf16a483"/>
    <ds:schemaRef ds:uri="178a973e-c427-43b6-a967-0d07677b57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0</TotalTime>
  <Words>639</Words>
  <Application>Microsoft Office PowerPoint</Application>
  <PresentationFormat>Custom</PresentationFormat>
  <Paragraphs>15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Arial Black</vt:lpstr>
      <vt:lpstr>Calibri</vt:lpstr>
      <vt:lpstr>Scandinavian New</vt:lpstr>
      <vt:lpstr>Scandinavian New Black</vt:lpstr>
      <vt:lpstr>Scandinavian Airlines</vt:lpstr>
      <vt:lpstr>think-cell Slide</vt:lpstr>
      <vt:lpstr>benefits</vt:lpstr>
      <vt:lpstr>Benefits across alliance</vt:lpstr>
      <vt:lpstr>Overview of key benefit chang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alali, Eric (STONJ-E)</dc:creator>
  <cp:keywords/>
  <dc:description/>
  <cp:lastModifiedBy>Liknes, Synne (OSLHH-P)</cp:lastModifiedBy>
  <cp:revision>2</cp:revision>
  <cp:lastPrinted>2023-10-09T07:13:23Z</cp:lastPrinted>
  <dcterms:created xsi:type="dcterms:W3CDTF">2024-07-03T21:37:02Z</dcterms:created>
  <dcterms:modified xsi:type="dcterms:W3CDTF">2024-07-04T05:20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308BD5494505429585970F124809FB</vt:lpwstr>
  </property>
  <property fmtid="{D5CDD505-2E9C-101B-9397-08002B2CF9AE}" pid="3" name="Order">
    <vt:r8>32000</vt:r8>
  </property>
  <property fmtid="{D5CDD505-2E9C-101B-9397-08002B2CF9AE}" pid="4" name="MediaServiceImageTags">
    <vt:lpwstr/>
  </property>
</Properties>
</file>